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00" r:id="rId4"/>
    <p:sldMasterId id="2147483825" r:id="rId5"/>
    <p:sldMasterId id="2147483771" r:id="rId6"/>
    <p:sldMasterId id="2147483759" r:id="rId7"/>
  </p:sldMasterIdLst>
  <p:notesMasterIdLst>
    <p:notesMasterId r:id="rId29"/>
  </p:notesMasterIdLst>
  <p:handoutMasterIdLst>
    <p:handoutMasterId r:id="rId30"/>
  </p:handoutMasterIdLst>
  <p:sldIdLst>
    <p:sldId id="279" r:id="rId8"/>
    <p:sldId id="260" r:id="rId9"/>
    <p:sldId id="286" r:id="rId10"/>
    <p:sldId id="283" r:id="rId11"/>
    <p:sldId id="263" r:id="rId12"/>
    <p:sldId id="300" r:id="rId13"/>
    <p:sldId id="285" r:id="rId14"/>
    <p:sldId id="261" r:id="rId15"/>
    <p:sldId id="288" r:id="rId16"/>
    <p:sldId id="287" r:id="rId17"/>
    <p:sldId id="289" r:id="rId18"/>
    <p:sldId id="290" r:id="rId19"/>
    <p:sldId id="291" r:id="rId20"/>
    <p:sldId id="292" r:id="rId21"/>
    <p:sldId id="293" r:id="rId22"/>
    <p:sldId id="294" r:id="rId23"/>
    <p:sldId id="295" r:id="rId24"/>
    <p:sldId id="258" r:id="rId25"/>
    <p:sldId id="298" r:id="rId26"/>
    <p:sldId id="299" r:id="rId27"/>
    <p:sldId id="276" r:id="rId2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lgova Svetlana" initials="DS" lastIdx="1" clrIdx="0">
    <p:extLst>
      <p:ext uri="{19B8F6BF-5375-455C-9EA6-DF929625EA0E}">
        <p15:presenceInfo xmlns:p15="http://schemas.microsoft.com/office/powerpoint/2012/main" userId="S-1-5-21-2437565300-2024630967-1388371115-5613" providerId="AD"/>
      </p:ext>
    </p:extLst>
  </p:cmAuthor>
  <p:cmAuthor id="2" name="Petrovicheva, A." initials="PA" lastIdx="30" clrIdx="1">
    <p:extLst>
      <p:ext uri="{19B8F6BF-5375-455C-9EA6-DF929625EA0E}">
        <p15:presenceInfo xmlns:p15="http://schemas.microsoft.com/office/powerpoint/2012/main" userId="S::a.petrovicheva@accenture.com::249739f8-9c90-4238-8709-9e236e7a9d2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3CAD"/>
    <a:srgbClr val="FF5500"/>
    <a:srgbClr val="22A5F3"/>
    <a:srgbClr val="FBD4BC"/>
    <a:srgbClr val="821F00"/>
    <a:srgbClr val="414042"/>
    <a:srgbClr val="B3B2B3"/>
    <a:srgbClr val="EBE8E4"/>
    <a:srgbClr val="EAE8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883" autoAdjust="0"/>
  </p:normalViewPr>
  <p:slideViewPr>
    <p:cSldViewPr snapToGrid="0">
      <p:cViewPr varScale="1">
        <p:scale>
          <a:sx n="68" d="100"/>
          <a:sy n="68" d="100"/>
        </p:scale>
        <p:origin x="616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handoutMaster" Target="handoutMasters/handoutMaster1.xml"/><Relationship Id="rId35" Type="http://schemas.openxmlformats.org/officeDocument/2006/relationships/tableStyles" Target="tableStyles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045FF02-9FE9-47FA-BAD5-601AD499DCB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31D7BA-1E2B-488D-A50A-6FDB54CECD1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FAD12D-9A74-460A-A1CD-2B068DAEEB73}" type="datetimeFigureOut">
              <a:rPr lang="ru-RU" smtClean="0"/>
              <a:t>27.03.2023</a:t>
            </a:fld>
            <a:endParaRPr lang="ru-R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F83D270-130A-4986-8D0C-403E8B0AEE2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0D42A1D-1118-4993-8B2E-3D8139E6D02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A3B44C-20DC-4E42-B003-9ED642ACC38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91279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52C827-9368-4614-9CC8-CD634EA44F85}" type="datetimeFigureOut">
              <a:rPr lang="ru-RU" smtClean="0"/>
              <a:t>27.03.2023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1EA3F7-A4AE-45C5-9F05-C4EE8BA1207E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69228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://www.axenix.pro/" TargetMode="External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51B3EAE-2D2B-7469-87BD-33412D2C0FAD}"/>
              </a:ext>
            </a:extLst>
          </p:cNvPr>
          <p:cNvSpPr txBox="1"/>
          <p:nvPr userDrawn="1"/>
        </p:nvSpPr>
        <p:spPr>
          <a:xfrm>
            <a:off x="7715250" y="6343650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A408437-2065-ACAC-54AA-877BF1ED9D49}"/>
              </a:ext>
            </a:extLst>
          </p:cNvPr>
          <p:cNvSpPr txBox="1"/>
          <p:nvPr userDrawn="1"/>
        </p:nvSpPr>
        <p:spPr>
          <a:xfrm>
            <a:off x="6709410" y="6366510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>
              <a:latin typeface="Arial" panose="020B0604020202020204" pitchFamily="34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E2ACCF56-B14F-D254-F1A6-41FCC102DB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104" y="3073770"/>
            <a:ext cx="9588821" cy="1972363"/>
          </a:xfrm>
          <a:prstGeom prst="rect">
            <a:avLst/>
          </a:prstGeom>
        </p:spPr>
        <p:txBody>
          <a:bodyPr vert="horz" lIns="0" tIns="45720" rIns="0" bIns="0" rtlCol="0" anchor="t" anchorCtr="0">
            <a:noAutofit/>
          </a:bodyPr>
          <a:lstStyle>
            <a:lvl1pPr marL="0" marR="0" indent="0" algn="l" defTabSz="914377" rtl="0" eaLnBrk="1" fontAlgn="auto" latinLnBrk="0" hangingPunct="1">
              <a:lnSpc>
                <a:spcPts val="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>
                <a:solidFill>
                  <a:srgbClr val="FFFFFF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Place presentation title </a:t>
            </a:r>
            <a:br>
              <a:rPr lang="ru-RU" dirty="0"/>
            </a:br>
            <a:r>
              <a:rPr lang="en-US" dirty="0"/>
              <a:t>here in sentence case, </a:t>
            </a:r>
            <a:br>
              <a:rPr lang="en-US" dirty="0"/>
            </a:br>
            <a:r>
              <a:rPr lang="en-US" dirty="0"/>
              <a:t>max 3 lin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95489F64-A49B-9A57-CB7B-479F91A1C07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7599" y="5066004"/>
            <a:ext cx="7786607" cy="476067"/>
          </a:xfrm>
          <a:prstGeom prst="rect">
            <a:avLst/>
          </a:prstGeom>
        </p:spPr>
        <p:txBody>
          <a:bodyPr lIns="46800">
            <a:noAutofit/>
          </a:bodyPr>
          <a:lstStyle>
            <a:lvl1pPr marL="0" indent="0">
              <a:lnSpc>
                <a:spcPct val="70000"/>
              </a:lnSpc>
              <a:defRPr sz="2500" b="0" i="0" cap="none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84C4B211-5D9F-DE5F-05D2-B6B5D23B3C4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7599" y="5661248"/>
            <a:ext cx="7786607" cy="476067"/>
          </a:xfrm>
          <a:prstGeom prst="rect">
            <a:avLst/>
          </a:prstGeom>
        </p:spPr>
        <p:txBody>
          <a:bodyPr lIns="46800">
            <a:noAutofit/>
          </a:bodyPr>
          <a:lstStyle>
            <a:lvl1pPr marL="0" indent="0">
              <a:lnSpc>
                <a:spcPct val="70000"/>
              </a:lnSpc>
              <a:defRPr sz="2000" b="0" i="0" cap="none" baseline="0">
                <a:solidFill>
                  <a:srgbClr val="FFFFFF"/>
                </a:solidFill>
                <a:latin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Data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140622-2384-354F-4E24-36BB6C033292}"/>
              </a:ext>
            </a:extLst>
          </p:cNvPr>
          <p:cNvSpPr txBox="1"/>
          <p:nvPr userDrawn="1"/>
        </p:nvSpPr>
        <p:spPr>
          <a:xfrm>
            <a:off x="6445045" y="6327058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</p:spTree>
    <p:extLst>
      <p:ext uri="{BB962C8B-B14F-4D97-AF65-F5344CB8AC3E}">
        <p14:creationId xmlns:p14="http://schemas.microsoft.com/office/powerpoint/2010/main" val="2968151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30133E-E0F7-70DF-87AA-D12DD6D55E5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7662" y="2619180"/>
            <a:ext cx="5419346" cy="3523915"/>
          </a:xfrm>
          <a:prstGeom prst="rect">
            <a:avLst/>
          </a:prstGeom>
        </p:spPr>
        <p:txBody>
          <a:bodyPr lIns="90000"/>
          <a:lstStyle>
            <a:lvl1pPr marL="0" indent="0">
              <a:buFontTx/>
              <a:buNone/>
              <a:defRPr sz="1600"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>
                <a:latin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0C68F77-C82F-2046-4074-7E621D866CB4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7662" y="1681163"/>
            <a:ext cx="5406467" cy="823912"/>
          </a:xfrm>
          <a:prstGeom prst="rect">
            <a:avLst/>
          </a:prstGeom>
        </p:spPr>
        <p:txBody>
          <a:bodyPr lIns="90000"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</a:p>
          <a:p>
            <a:pPr lvl="0"/>
            <a:r>
              <a:rPr lang="en-US" dirty="0" err="1"/>
              <a:t>gakrgjkjgkjgr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9FC30C4-97A7-7456-76D1-87DCA6D50A8A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6168008" y="2619180"/>
            <a:ext cx="5419346" cy="3523915"/>
          </a:xfrm>
          <a:prstGeom prst="rect">
            <a:avLst/>
          </a:prstGeom>
        </p:spPr>
        <p:txBody>
          <a:bodyPr lIns="90000"/>
          <a:lstStyle>
            <a:lvl1pPr marL="0" indent="0">
              <a:buFontTx/>
              <a:buNone/>
              <a:defRPr sz="1600"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>
                <a:latin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C917045-F730-CABF-E020-3973462F01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68008" y="1681163"/>
            <a:ext cx="5406467" cy="823912"/>
          </a:xfrm>
          <a:prstGeom prst="rect">
            <a:avLst/>
          </a:prstGeom>
        </p:spPr>
        <p:txBody>
          <a:bodyPr lIns="90000"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</a:p>
          <a:p>
            <a:pPr lvl="0"/>
            <a:r>
              <a:rPr lang="en-US" dirty="0" err="1"/>
              <a:t>gakrgjkjgkjgr</a:t>
            </a:r>
            <a:endParaRPr lang="en-GB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4EC3972-B4FA-479A-A08B-5265A09BF1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9563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D00E3-C3AC-D978-61CB-E4E78C70803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6171" y="1681163"/>
            <a:ext cx="8072392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</a:p>
          <a:p>
            <a:pPr lvl="0"/>
            <a:endParaRPr lang="en-GB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32275D4-53D6-3306-330A-383A446B822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76171" y="2630311"/>
            <a:ext cx="8072392" cy="37704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>
                <a:latin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3D2E1D3-4F2A-2082-84EC-F39FBAD06409}"/>
              </a:ext>
            </a:extLst>
          </p:cNvPr>
          <p:cNvSpPr/>
          <p:nvPr userDrawn="1"/>
        </p:nvSpPr>
        <p:spPr>
          <a:xfrm>
            <a:off x="0" y="1571674"/>
            <a:ext cx="3497179" cy="4825218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AB1469F-C4FF-70C8-6DE4-EF768617129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35360" y="1916831"/>
            <a:ext cx="2865040" cy="4149118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D63BA7EB-5F24-78F2-DC6E-5D351E6049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3511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7D00E3-C3AC-D978-61CB-E4E78C70803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76171" y="1681163"/>
            <a:ext cx="8072392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</a:p>
          <a:p>
            <a:pPr lvl="0"/>
            <a:endParaRPr lang="en-GB" dirty="0"/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AB1469F-C4FF-70C8-6DE4-EF7686171293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35359" y="1681162"/>
            <a:ext cx="3244967" cy="4719637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  <a:p>
            <a:pPr marL="0" marR="0" lvl="0" indent="0" algn="l" defTabSz="91437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Place text here</a:t>
            </a:r>
            <a:endParaRPr lang="ru-RU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45DB1E24-6AE3-34CB-489D-F54BAF721D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3F694105-6B43-530B-E5D9-51EB4163EA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76171" y="2630311"/>
            <a:ext cx="8072392" cy="377048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>
                <a:latin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7593715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sic - Light,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AF83D76-F93A-4D71-3281-B8235758B8C3}"/>
              </a:ext>
            </a:extLst>
          </p:cNvPr>
          <p:cNvSpPr txBox="1"/>
          <p:nvPr userDrawn="1"/>
        </p:nvSpPr>
        <p:spPr>
          <a:xfrm>
            <a:off x="1070517" y="367990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05488D-5061-B24E-9357-03D8C4FC8F50}"/>
              </a:ext>
            </a:extLst>
          </p:cNvPr>
          <p:cNvSpPr txBox="1"/>
          <p:nvPr userDrawn="1"/>
        </p:nvSpPr>
        <p:spPr>
          <a:xfrm>
            <a:off x="1706137" y="3546088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>
              <a:latin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35968FE-210E-B837-EBC5-C1C4802626F4}"/>
              </a:ext>
            </a:extLst>
          </p:cNvPr>
          <p:cNvSpPr/>
          <p:nvPr userDrawn="1"/>
        </p:nvSpPr>
        <p:spPr>
          <a:xfrm>
            <a:off x="487264" y="4690638"/>
            <a:ext cx="4187976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9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О компании </a:t>
            </a:r>
            <a:r>
              <a:rPr lang="en-US" sz="900" b="1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AXENIX</a:t>
            </a:r>
            <a:endParaRPr lang="ru-RU" sz="9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en-US" sz="9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AXENIX </a:t>
            </a:r>
            <a:r>
              <a:rPr lang="ru-RU" sz="9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(ex-Accenture) – российская компания, предоставляющая широкий спектр профессиональных услуг в области цифровых сервисов, облачных технологий и решений для обеспечения информационной безопасности. В офисах и центрах разработки в Москве, Твери, </a:t>
            </a:r>
            <a:br>
              <a:rPr lang="en-US" sz="9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ru-RU" sz="900" dirty="0" err="1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Ростове</a:t>
            </a:r>
            <a:r>
              <a:rPr lang="ru-RU" sz="9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-на-Дону, Краснодаре, Санкт-Петербурге и Алматы работают около 2 000 сотрудников. Благодаря сочетанию уникальных знаний, </a:t>
            </a:r>
            <a:br>
              <a:rPr lang="en-US" sz="9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ru-RU" sz="9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опыта и компетенций более чем в 40 отраслях, предлагает услуги </a:t>
            </a:r>
            <a:br>
              <a:rPr lang="en-US" sz="9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ru-RU" sz="9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в области стратегии и бизнес-консалтинга, технологических решений </a:t>
            </a:r>
            <a:br>
              <a:rPr lang="en-US" sz="9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ru-RU" sz="9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и других операций, направленных на цифровизацию бизнеса. </a:t>
            </a:r>
            <a:br>
              <a:rPr lang="en-US" sz="9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ru-RU" sz="900" dirty="0"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Подробнее на  </a:t>
            </a:r>
            <a:r>
              <a:rPr lang="en-US" sz="900" u="sng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xenix.pro</a:t>
            </a:r>
            <a:endParaRPr lang="ru-RU" sz="9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E4A54D-535F-ECB8-BF07-B4FE2B5F8D7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1823" y="4800600"/>
            <a:ext cx="1315517" cy="1655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62143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>
            <a:extLst>
              <a:ext uri="{FF2B5EF4-FFF2-40B4-BE49-F238E27FC236}">
                <a16:creationId xmlns:a16="http://schemas.microsoft.com/office/drawing/2014/main" id="{90F8A038-F79B-4C13-9287-8AFC932377E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17B1981-8588-A37B-2188-2B3AF38C7497}"/>
              </a:ext>
            </a:extLst>
          </p:cNvPr>
          <p:cNvSpPr/>
          <p:nvPr userDrawn="1"/>
        </p:nvSpPr>
        <p:spPr>
          <a:xfrm>
            <a:off x="5052060" y="354330"/>
            <a:ext cx="6800850" cy="6172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 dirty="0">
              <a:latin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A67B93-5503-49C7-ADB5-EF3AECD1A8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1196" y="1597537"/>
            <a:ext cx="4395264" cy="2482973"/>
          </a:xfrm>
          <a:prstGeom prst="rect">
            <a:avLst/>
          </a:prstGeom>
        </p:spPr>
        <p:txBody>
          <a:bodyPr tIns="0" bIns="0" anchor="b">
            <a:normAutofit/>
          </a:bodyPr>
          <a:lstStyle>
            <a:lvl1pPr algn="ctr">
              <a:lnSpc>
                <a:spcPct val="70000"/>
              </a:lnSpc>
              <a:defRPr sz="7200">
                <a:solidFill>
                  <a:srgbClr val="FFFFFF"/>
                </a:solidFill>
              </a:defRPr>
            </a:lvl1pPr>
            <a:lvl2pPr>
              <a:defRPr sz="6000"/>
            </a:lvl2pPr>
            <a:lvl3pPr>
              <a:defRPr sz="6000"/>
            </a:lvl3pPr>
            <a:lvl4pPr>
              <a:defRPr sz="6000"/>
            </a:lvl4pPr>
            <a:lvl5pPr>
              <a:defRPr sz="6000"/>
            </a:lvl5pPr>
          </a:lstStyle>
          <a:p>
            <a:pPr lvl="0"/>
            <a:r>
              <a:rPr lang="en-US" dirty="0"/>
              <a:t>Agenda</a:t>
            </a:r>
          </a:p>
        </p:txBody>
      </p:sp>
      <p:sp>
        <p:nvSpPr>
          <p:cNvPr id="72" name="Text Placeholder 44">
            <a:extLst>
              <a:ext uri="{FF2B5EF4-FFF2-40B4-BE49-F238E27FC236}">
                <a16:creationId xmlns:a16="http://schemas.microsoft.com/office/drawing/2014/main" id="{FDE571CC-167D-47E3-8000-11E1185523A8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410716" y="3580468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="1" i="0" u="sng">
                <a:solidFill>
                  <a:srgbClr val="FF7000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73" name="Text Placeholder 44">
            <a:extLst>
              <a:ext uri="{FF2B5EF4-FFF2-40B4-BE49-F238E27FC236}">
                <a16:creationId xmlns:a16="http://schemas.microsoft.com/office/drawing/2014/main" id="{67D8E360-3B8E-42E3-A131-BBB8259C20D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687389" y="3580468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="1" i="0" u="sng">
                <a:solidFill>
                  <a:srgbClr val="FF7000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74" name="Text Placeholder 44">
            <a:extLst>
              <a:ext uri="{FF2B5EF4-FFF2-40B4-BE49-F238E27FC236}">
                <a16:creationId xmlns:a16="http://schemas.microsoft.com/office/drawing/2014/main" id="{95023161-89C9-4A6B-93C9-5CCEA219CEE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906914" y="3580468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="1" i="0" u="sng">
                <a:solidFill>
                  <a:srgbClr val="FF7000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77" name="Text Placeholder 44">
            <a:extLst>
              <a:ext uri="{FF2B5EF4-FFF2-40B4-BE49-F238E27FC236}">
                <a16:creationId xmlns:a16="http://schemas.microsoft.com/office/drawing/2014/main" id="{3D1567CD-545E-4481-AA52-EAB26F307DE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410716" y="1597537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="1" i="0" u="sng">
                <a:solidFill>
                  <a:srgbClr val="FF7000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78" name="Text Placeholder 44">
            <a:extLst>
              <a:ext uri="{FF2B5EF4-FFF2-40B4-BE49-F238E27FC236}">
                <a16:creationId xmlns:a16="http://schemas.microsoft.com/office/drawing/2014/main" id="{C4A7E19B-BA4C-4167-B678-685C3673D0E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687389" y="1597537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="1" i="0" u="sng">
                <a:solidFill>
                  <a:srgbClr val="FF7000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79" name="Text Placeholder 44">
            <a:extLst>
              <a:ext uri="{FF2B5EF4-FFF2-40B4-BE49-F238E27FC236}">
                <a16:creationId xmlns:a16="http://schemas.microsoft.com/office/drawing/2014/main" id="{33092D62-8436-4A51-8071-52D0BA46EF8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906914" y="1597537"/>
            <a:ext cx="1572616" cy="69918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200" b="1" i="0" u="sng">
                <a:solidFill>
                  <a:srgbClr val="FF7000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#</a:t>
            </a:r>
            <a:endParaRPr lang="en-GB" dirty="0"/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722F4D46-D274-4F10-ABA0-DD9EA3E9201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5402461" y="2441622"/>
            <a:ext cx="1580870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562" indent="0">
              <a:buNone/>
              <a:defRPr>
                <a:latin typeface="Montserrat" panose="020B0503030202060203" pitchFamily="34" charset="0"/>
              </a:defRPr>
            </a:lvl2pPr>
            <a:lvl3pPr>
              <a:defRPr>
                <a:latin typeface="Montserrat" panose="020B0503030202060203" pitchFamily="34" charset="0"/>
              </a:defRPr>
            </a:lvl3pPr>
            <a:lvl4pPr>
              <a:defRPr>
                <a:latin typeface="Montserrat" panose="020B0503030202060203" pitchFamily="34" charset="0"/>
              </a:defRPr>
            </a:lvl4pPr>
            <a:lvl5pPr>
              <a:defRPr>
                <a:latin typeface="Montserrat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83" name="Text Placeholder 2">
            <a:extLst>
              <a:ext uri="{FF2B5EF4-FFF2-40B4-BE49-F238E27FC236}">
                <a16:creationId xmlns:a16="http://schemas.microsoft.com/office/drawing/2014/main" id="{9F91BFBD-9636-4FD4-8F52-6E39E26F072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687389" y="2425856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562" indent="0">
              <a:buNone/>
              <a:defRPr>
                <a:latin typeface="Montserrat" panose="020B0503030202060203" pitchFamily="34" charset="0"/>
              </a:defRPr>
            </a:lvl2pPr>
            <a:lvl3pPr>
              <a:defRPr>
                <a:latin typeface="Montserrat" panose="020B0503030202060203" pitchFamily="34" charset="0"/>
              </a:defRPr>
            </a:lvl3pPr>
            <a:lvl4pPr>
              <a:defRPr>
                <a:latin typeface="Montserrat" panose="020B0503030202060203" pitchFamily="34" charset="0"/>
              </a:defRPr>
            </a:lvl4pPr>
            <a:lvl5pPr>
              <a:defRPr>
                <a:latin typeface="Montserrat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84" name="Text Placeholder 2">
            <a:extLst>
              <a:ext uri="{FF2B5EF4-FFF2-40B4-BE49-F238E27FC236}">
                <a16:creationId xmlns:a16="http://schemas.microsoft.com/office/drawing/2014/main" id="{F01AF8C0-E88B-47D4-9C57-68C82E55FF5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9906912" y="2424014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562" indent="0">
              <a:buNone/>
              <a:defRPr>
                <a:latin typeface="Montserrat" panose="020B0503030202060203" pitchFamily="34" charset="0"/>
              </a:defRPr>
            </a:lvl2pPr>
            <a:lvl3pPr>
              <a:defRPr>
                <a:latin typeface="Montserrat" panose="020B0503030202060203" pitchFamily="34" charset="0"/>
              </a:defRPr>
            </a:lvl3pPr>
            <a:lvl4pPr>
              <a:defRPr>
                <a:latin typeface="Montserrat" panose="020B0503030202060203" pitchFamily="34" charset="0"/>
              </a:defRPr>
            </a:lvl4pPr>
            <a:lvl5pPr>
              <a:defRPr>
                <a:latin typeface="Montserrat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87" name="Text Placeholder 2">
            <a:extLst>
              <a:ext uri="{FF2B5EF4-FFF2-40B4-BE49-F238E27FC236}">
                <a16:creationId xmlns:a16="http://schemas.microsoft.com/office/drawing/2014/main" id="{FC4FC8D5-B96C-437B-A281-3F7C9C7D71C8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5394206" y="4424552"/>
            <a:ext cx="1580870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562" indent="0">
              <a:buNone/>
              <a:defRPr>
                <a:latin typeface="Montserrat" panose="020B0503030202060203" pitchFamily="34" charset="0"/>
              </a:defRPr>
            </a:lvl2pPr>
            <a:lvl3pPr>
              <a:defRPr>
                <a:latin typeface="Montserrat" panose="020B0503030202060203" pitchFamily="34" charset="0"/>
              </a:defRPr>
            </a:lvl3pPr>
            <a:lvl4pPr>
              <a:defRPr>
                <a:latin typeface="Montserrat" panose="020B0503030202060203" pitchFamily="34" charset="0"/>
              </a:defRPr>
            </a:lvl4pPr>
            <a:lvl5pPr>
              <a:defRPr>
                <a:latin typeface="Montserrat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88" name="Text Placeholder 2">
            <a:extLst>
              <a:ext uri="{FF2B5EF4-FFF2-40B4-BE49-F238E27FC236}">
                <a16:creationId xmlns:a16="http://schemas.microsoft.com/office/drawing/2014/main" id="{8FD560F8-78FC-4428-9882-3934D9CBB659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7679134" y="4408786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562" indent="0">
              <a:buNone/>
              <a:defRPr>
                <a:latin typeface="Montserrat" panose="020B0503030202060203" pitchFamily="34" charset="0"/>
              </a:defRPr>
            </a:lvl2pPr>
            <a:lvl3pPr>
              <a:defRPr>
                <a:latin typeface="Montserrat" panose="020B0503030202060203" pitchFamily="34" charset="0"/>
              </a:defRPr>
            </a:lvl3pPr>
            <a:lvl4pPr>
              <a:defRPr>
                <a:latin typeface="Montserrat" panose="020B0503030202060203" pitchFamily="34" charset="0"/>
              </a:defRPr>
            </a:lvl4pPr>
            <a:lvl5pPr>
              <a:defRPr>
                <a:latin typeface="Montserrat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89" name="Text Placeholder 2">
            <a:extLst>
              <a:ext uri="{FF2B5EF4-FFF2-40B4-BE49-F238E27FC236}">
                <a16:creationId xmlns:a16="http://schemas.microsoft.com/office/drawing/2014/main" id="{176CA42E-BDE9-4A57-B993-296EED1BCB46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898657" y="4406944"/>
            <a:ext cx="1572616" cy="8331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defRPr sz="1800" b="0" cap="none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562" indent="0">
              <a:buNone/>
              <a:defRPr>
                <a:latin typeface="Montserrat" panose="020B0503030202060203" pitchFamily="34" charset="0"/>
              </a:defRPr>
            </a:lvl2pPr>
            <a:lvl3pPr>
              <a:defRPr>
                <a:latin typeface="Montserrat" panose="020B0503030202060203" pitchFamily="34" charset="0"/>
              </a:defRPr>
            </a:lvl3pPr>
            <a:lvl4pPr>
              <a:defRPr>
                <a:latin typeface="Montserrat" panose="020B0503030202060203" pitchFamily="34" charset="0"/>
              </a:defRPr>
            </a:lvl4pPr>
            <a:lvl5pPr>
              <a:defRPr>
                <a:latin typeface="Montserrat" panose="020B0503030202060203" pitchFamily="34" charset="0"/>
              </a:defRPr>
            </a:lvl5pPr>
          </a:lstStyle>
          <a:p>
            <a:pPr lvl="0"/>
            <a:r>
              <a:rPr lang="en-US" dirty="0"/>
              <a:t>Click to add Title at 18 </a:t>
            </a:r>
            <a:r>
              <a:rPr lang="en-US" dirty="0" err="1"/>
              <a:t>pt</a:t>
            </a:r>
            <a:r>
              <a:rPr lang="en-US" dirty="0"/>
              <a:t> or les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6B1917-ECF5-2AB2-79CD-1D2E969A9CB1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Arial" panose="020B0604020202020204" pitchFamily="34" charset="0"/>
              </a:rPr>
              <a:t> © 2022 ООО «АксТим»	 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69A0123-F78D-1560-6969-AACFD613CEE8}"/>
              </a:ext>
            </a:extLst>
          </p:cNvPr>
          <p:cNvSpPr txBox="1">
            <a:spLocks/>
          </p:cNvSpPr>
          <p:nvPr userDrawn="1"/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  <a:latin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91919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8829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asic - Light, Black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0AF83D76-F93A-4D71-3281-B8235758B8C3}"/>
              </a:ext>
            </a:extLst>
          </p:cNvPr>
          <p:cNvSpPr txBox="1"/>
          <p:nvPr userDrawn="1"/>
        </p:nvSpPr>
        <p:spPr>
          <a:xfrm>
            <a:off x="1070517" y="3679902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>
              <a:latin typeface="Arial" panose="020B06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05488D-5061-B24E-9357-03D8C4FC8F50}"/>
              </a:ext>
            </a:extLst>
          </p:cNvPr>
          <p:cNvSpPr txBox="1"/>
          <p:nvPr userDrawn="1"/>
        </p:nvSpPr>
        <p:spPr>
          <a:xfrm>
            <a:off x="1706137" y="3546088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>
              <a:latin typeface="Arial" panose="020B0604020202020204" pitchFamily="34" charset="0"/>
            </a:endParaRP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398F1829-F3A5-B078-2E73-7E6F5B601B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2682061"/>
            <a:ext cx="7780284" cy="2148813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>
              <a:lnSpc>
                <a:spcPts val="4500"/>
              </a:lnSpc>
              <a:defRPr sz="4400" b="1" i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US" dirty="0"/>
              <a:t>Place presentation title here in sentence case, </a:t>
            </a:r>
            <a:br>
              <a:rPr lang="en-US" dirty="0"/>
            </a:br>
            <a:r>
              <a:rPr lang="en-US" dirty="0"/>
              <a:t>max 3 lines (44pt)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3F2D3771-35D3-C16A-3ABD-2D802478FE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7494" y="4922651"/>
            <a:ext cx="7786607" cy="997702"/>
          </a:xfrm>
          <a:prstGeom prst="rect">
            <a:avLst/>
          </a:prstGeom>
        </p:spPr>
        <p:txBody>
          <a:bodyPr lIns="46800">
            <a:noAutofit/>
          </a:bodyPr>
          <a:lstStyle>
            <a:lvl1pPr marL="0" indent="0">
              <a:lnSpc>
                <a:spcPct val="70000"/>
              </a:lnSpc>
              <a:defRPr sz="2500" b="0" i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3pPr>
            <a:lvl4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4pPr>
            <a:lvl5pPr marL="0" indent="0">
              <a:lnSpc>
                <a:spcPct val="100000"/>
              </a:lnSpc>
              <a:buNone/>
              <a:defRPr sz="1800" b="0" cap="none" baseline="0">
                <a:solidFill>
                  <a:schemeClr val="tx1"/>
                </a:solidFill>
                <a:latin typeface="Montserrat" pitchFamily="2" charset="77"/>
              </a:defRPr>
            </a:lvl5pPr>
            <a:lvl6pPr marL="339717" indent="0">
              <a:buNone/>
              <a:defRPr/>
            </a:lvl6pPr>
            <a:lvl7pPr>
              <a:defRPr/>
            </a:lvl7pPr>
            <a:lvl8pPr>
              <a:defRPr/>
            </a:lvl8pPr>
          </a:lstStyle>
          <a:p>
            <a:pPr lvl="0"/>
            <a:r>
              <a:rPr lang="en-US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6814242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400">
          <p15:clr>
            <a:srgbClr val="5ACBF0"/>
          </p15:clr>
        </p15:guide>
        <p15:guide id="2" orient="horz" pos="2520">
          <p15:clr>
            <a:srgbClr val="5ACBF0"/>
          </p15:clr>
        </p15:guide>
        <p15:guide id="3" pos="720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F17B1981-8588-A37B-2188-2B3AF38C7497}"/>
              </a:ext>
            </a:extLst>
          </p:cNvPr>
          <p:cNvSpPr/>
          <p:nvPr userDrawn="1"/>
        </p:nvSpPr>
        <p:spPr>
          <a:xfrm>
            <a:off x="5052060" y="354330"/>
            <a:ext cx="6800850" cy="61722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R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6B1917-ECF5-2AB2-79CD-1D2E969A9CB1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Arial" panose="020B0604020202020204" pitchFamily="34" charset="0"/>
                <a:cs typeface="Arial" panose="020B0604020202020204" pitchFamily="34" charset="0"/>
              </a:rPr>
              <a:t> © 2022 ООО «АксТим»	 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69A0123-F78D-1560-6969-AACFD613CEE8}"/>
              </a:ext>
            </a:extLst>
          </p:cNvPr>
          <p:cNvSpPr txBox="1">
            <a:spLocks/>
          </p:cNvSpPr>
          <p:nvPr userDrawn="1"/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91919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E4D975B-52EA-094F-DC58-479E8F3FED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91290" y="170974"/>
            <a:ext cx="295910" cy="406876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DC3003AD-AC5E-CFF3-B6C1-86825B3A84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506" y="0"/>
            <a:ext cx="10711303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Headline place here (25pt)</a:t>
            </a:r>
          </a:p>
        </p:txBody>
      </p:sp>
    </p:spTree>
    <p:extLst>
      <p:ext uri="{BB962C8B-B14F-4D97-AF65-F5344CB8AC3E}">
        <p14:creationId xmlns:p14="http://schemas.microsoft.com/office/powerpoint/2010/main" val="525185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7643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1670756"/>
            <a:ext cx="11407285" cy="451890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>
                <a:latin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458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C45B49-E277-AADE-2F63-1CBCC6F9BAB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8399" y="1681163"/>
            <a:ext cx="11407285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2608729"/>
            <a:ext cx="11407285" cy="358093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>
                <a:latin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613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C45B49-E277-AADE-2F63-1CBCC6F9BAB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8400" y="1681163"/>
            <a:ext cx="7041784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2608729"/>
            <a:ext cx="7072781" cy="358093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>
                <a:latin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B71D66D4-7B4F-A4A5-2D7D-403B84D4F2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  <p:sp>
        <p:nvSpPr>
          <p:cNvPr id="2" name="Picture Placeholder 18">
            <a:extLst>
              <a:ext uri="{FF2B5EF4-FFF2-40B4-BE49-F238E27FC236}">
                <a16:creationId xmlns:a16="http://schemas.microsoft.com/office/drawing/2014/main" id="{88A49B5E-0622-0DCA-5E61-9C6EC11281A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32916" y="1681162"/>
            <a:ext cx="4190998" cy="4518159"/>
          </a:xfrm>
          <a:prstGeom prst="rect">
            <a:avLst/>
          </a:prstGeom>
          <a:solidFill>
            <a:schemeClr val="bg1"/>
          </a:solidFill>
        </p:spPr>
        <p:txBody>
          <a:bodyPr tIns="274320" bIns="274320" anchor="ctr"/>
          <a:lstStyle>
            <a:lvl1pPr marL="0" indent="0" algn="ctr">
              <a:buNone/>
              <a:defRPr sz="14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r>
              <a:rPr lang="en-GB" dirty="0"/>
              <a:t>Add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1691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C01E5B58-D84A-59E3-60BB-9977373372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10748" y="381000"/>
            <a:ext cx="10300252" cy="842890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>
              <a:defRPr>
                <a:latin typeface="Arial" panose="020B0604020202020204" pitchFamily="34" charset="0"/>
              </a:defRPr>
            </a:lvl1pPr>
          </a:lstStyle>
          <a:p>
            <a:r>
              <a:rPr lang="en-US" dirty="0"/>
              <a:t>Headline place here (32pt)</a:t>
            </a:r>
            <a:br>
              <a:rPr lang="en-US" dirty="0"/>
            </a:b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3C45B49-E277-AADE-2F63-1CBCC6F9BAB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28399" y="1681163"/>
            <a:ext cx="11407285" cy="823912"/>
          </a:xfrm>
          <a:prstGeom prst="rect">
            <a:avLst/>
          </a:prstGeom>
        </p:spPr>
        <p:txBody>
          <a:bodyPr anchor="t"/>
          <a:lstStyle>
            <a:lvl1pPr marL="0" indent="0">
              <a:lnSpc>
                <a:spcPts val="1880"/>
              </a:lnSpc>
              <a:buNone/>
              <a:defRPr sz="2400" b="1">
                <a:solidFill>
                  <a:srgbClr val="F37022"/>
                </a:solidFill>
                <a:latin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Headline place here (24pt)</a:t>
            </a:r>
            <a:endParaRPr lang="en-GB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6A761EA-F6BB-976F-559B-39A621CF0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8399" y="2608729"/>
            <a:ext cx="11407285" cy="358093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Arial" panose="020B0604020202020204" pitchFamily="34" charset="0"/>
              </a:defRPr>
            </a:lvl1pPr>
            <a:lvl2pPr marL="457200" indent="0">
              <a:buFontTx/>
              <a:buNone/>
              <a:defRPr sz="1600">
                <a:latin typeface="Arial" panose="020B0604020202020204" pitchFamily="34" charset="0"/>
              </a:defRPr>
            </a:lvl2pPr>
            <a:lvl3pPr marL="914400" indent="0">
              <a:buFontTx/>
              <a:buNone/>
              <a:defRPr sz="1600">
                <a:latin typeface="Arial" panose="020B0604020202020204" pitchFamily="34" charset="0"/>
              </a:defRPr>
            </a:lvl3pPr>
            <a:lvl4pPr marL="1371600" indent="0">
              <a:buFontTx/>
              <a:buNone/>
              <a:defRPr sz="1600">
                <a:latin typeface="Arial" panose="020B0604020202020204" pitchFamily="34" charset="0"/>
              </a:defRPr>
            </a:lvl4pPr>
            <a:lvl5pPr marL="1828800" indent="0">
              <a:buFontTx/>
              <a:buNone/>
              <a:defRPr sz="1600">
                <a:latin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RU" dirty="0"/>
          </a:p>
        </p:txBody>
      </p:sp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A4FA1A80-78CE-5A24-E0FF-73A2D12DC62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14341" y="850006"/>
            <a:ext cx="10334222" cy="31888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2300" b="0" cap="none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lide subtitle</a:t>
            </a:r>
          </a:p>
        </p:txBody>
      </p:sp>
    </p:spTree>
    <p:extLst>
      <p:ext uri="{BB962C8B-B14F-4D97-AF65-F5344CB8AC3E}">
        <p14:creationId xmlns:p14="http://schemas.microsoft.com/office/powerpoint/2010/main" val="16078870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vmlDrawing" Target="../drawings/vmlDrawing2.vml"/><Relationship Id="rId7" Type="http://schemas.openxmlformats.org/officeDocument/2006/relationships/image" Target="../media/image5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8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vmlDrawing" Target="../drawings/vmlDrawing3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9.png"/><Relationship Id="rId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B5456A1-5AD5-1C3B-784F-E5DB1A617811}"/>
              </a:ext>
            </a:extLst>
          </p:cNvPr>
          <p:cNvSpPr/>
          <p:nvPr userDrawn="1"/>
        </p:nvSpPr>
        <p:spPr>
          <a:xfrm>
            <a:off x="0" y="-100809"/>
            <a:ext cx="12192000" cy="6958809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5244621-BE37-66F7-AE71-04D88A8F6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19741" y="-100810"/>
            <a:ext cx="7777207" cy="6958809"/>
          </a:xfrm>
          <a:prstGeom prst="rect">
            <a:avLst/>
          </a:prstGeom>
        </p:spPr>
      </p:pic>
      <p:sp>
        <p:nvSpPr>
          <p:cNvPr id="11" name="Title 3">
            <a:extLst>
              <a:ext uri="{FF2B5EF4-FFF2-40B4-BE49-F238E27FC236}">
                <a16:creationId xmlns:a16="http://schemas.microsoft.com/office/drawing/2014/main" id="{0799367B-6583-A8C4-AABC-4EB4B1EEDA9D}"/>
              </a:ext>
            </a:extLst>
          </p:cNvPr>
          <p:cNvSpPr txBox="1">
            <a:spLocks/>
          </p:cNvSpPr>
          <p:nvPr userDrawn="1"/>
        </p:nvSpPr>
        <p:spPr>
          <a:xfrm>
            <a:off x="4724629" y="6212323"/>
            <a:ext cx="7056261" cy="405647"/>
          </a:xfrm>
          <a:prstGeom prst="rect">
            <a:avLst/>
          </a:prstGeom>
        </p:spPr>
        <p:txBody>
          <a:bodyPr vert="horz" lIns="0" tIns="45720" rIns="0" bIns="0" rtlCol="0" anchor="t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ts val="2000"/>
              </a:lnSpc>
            </a:pPr>
            <a:r>
              <a:rPr lang="ru-RU" sz="2400" cap="none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и. Стратегии. Консалтинг.</a:t>
            </a:r>
          </a:p>
        </p:txBody>
      </p:sp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Folie" r:id="rId7" imgW="425" imgH="426" progId="TCLayout.ActiveDocument.1">
                  <p:embed/>
                </p:oleObj>
              </mc:Choice>
              <mc:Fallback>
                <p:oleObj name="think-cell Folie" r:id="rId7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Arial" panose="020B0604020202020204" pitchFamily="34" charset="0"/>
              </a:rPr>
              <a:t> © 2022 ООО «АксТим»	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9663FD6-8FD6-4311-3031-623D5EE6632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22759" y="400849"/>
            <a:ext cx="3148445" cy="1784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758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27" r:id="rId2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Montserrat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Folie" r:id="rId5" imgW="425" imgH="426" progId="TCLayout.ActiveDocument.1">
                  <p:embed/>
                </p:oleObj>
              </mc:Choice>
              <mc:Fallback>
                <p:oleObj name="think-cell Folie" r:id="rId5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Arial" panose="020B0604020202020204" pitchFamily="34" charset="0"/>
              </a:rPr>
              <a:t> © 2022 ООО «АксТим»	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6D061B-8A97-0E83-1239-5A78C931FCB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36431" y="243315"/>
            <a:ext cx="2019300" cy="11303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36DE66D-3D08-AA52-27A4-51071019C9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12" r="6566"/>
          <a:stretch/>
        </p:blipFill>
        <p:spPr>
          <a:xfrm>
            <a:off x="7450518" y="0"/>
            <a:ext cx="4741482" cy="660227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69ACC8F-87F1-11BC-54FF-29DF1B67DD2C}"/>
              </a:ext>
            </a:extLst>
          </p:cNvPr>
          <p:cNvSpPr txBox="1"/>
          <p:nvPr userDrawn="1"/>
        </p:nvSpPr>
        <p:spPr>
          <a:xfrm>
            <a:off x="6310489" y="1117600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9843973-961C-8DDE-2DD6-53DF7B28F08E}"/>
              </a:ext>
            </a:extLst>
          </p:cNvPr>
          <p:cNvSpPr txBox="1"/>
          <p:nvPr userDrawn="1"/>
        </p:nvSpPr>
        <p:spPr>
          <a:xfrm>
            <a:off x="6062133" y="-11289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1119898-D072-6154-65DA-C70A705FD4A3}"/>
              </a:ext>
            </a:extLst>
          </p:cNvPr>
          <p:cNvSpPr txBox="1"/>
          <p:nvPr userDrawn="1"/>
        </p:nvSpPr>
        <p:spPr>
          <a:xfrm>
            <a:off x="5576711" y="22578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699DEB3-46B7-E235-21C5-8F577D91452A}"/>
              </a:ext>
            </a:extLst>
          </p:cNvPr>
          <p:cNvSpPr txBox="1"/>
          <p:nvPr userDrawn="1"/>
        </p:nvSpPr>
        <p:spPr>
          <a:xfrm>
            <a:off x="2528711" y="2596444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B41F51A-A72F-6796-C8BF-B58CCEA6CA55}"/>
              </a:ext>
            </a:extLst>
          </p:cNvPr>
          <p:cNvSpPr txBox="1"/>
          <p:nvPr userDrawn="1"/>
        </p:nvSpPr>
        <p:spPr>
          <a:xfrm>
            <a:off x="1027289" y="3296356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90B1051-273A-AE8E-459B-F260C9FE82F0}"/>
              </a:ext>
            </a:extLst>
          </p:cNvPr>
          <p:cNvSpPr txBox="1"/>
          <p:nvPr userDrawn="1"/>
        </p:nvSpPr>
        <p:spPr>
          <a:xfrm>
            <a:off x="-11289" y="2528711"/>
            <a:ext cx="0" cy="0"/>
          </a:xfrm>
          <a:prstGeom prst="rect">
            <a:avLst/>
          </a:prstGeom>
          <a:noFill/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EC02DB6-B043-D33F-9415-84B3B44475F2}"/>
              </a:ext>
            </a:extLst>
          </p:cNvPr>
          <p:cNvSpPr txBox="1"/>
          <p:nvPr userDrawn="1"/>
        </p:nvSpPr>
        <p:spPr>
          <a:xfrm>
            <a:off x="707923" y="2580968"/>
            <a:ext cx="0" cy="0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wrap="none" lIns="0" tIns="0" rIns="0" bIns="45720" rtlCol="0">
            <a:noAutofit/>
          </a:bodyPr>
          <a:lstStyle/>
          <a:p>
            <a:endParaRPr lang="en-RU" sz="1600" dirty="0"/>
          </a:p>
        </p:txBody>
      </p:sp>
    </p:spTree>
    <p:extLst>
      <p:ext uri="{BB962C8B-B14F-4D97-AF65-F5344CB8AC3E}">
        <p14:creationId xmlns:p14="http://schemas.microsoft.com/office/powerpoint/2010/main" val="3448633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Montserrat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88DA18F-CC7A-8B02-8558-400CADA11C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/>
          <a:stretch/>
        </p:blipFill>
        <p:spPr>
          <a:xfrm>
            <a:off x="406400" y="225778"/>
            <a:ext cx="11785600" cy="11938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8C8C97C-D7FF-2F6E-5F48-D8445417BBE1}"/>
              </a:ext>
            </a:extLst>
          </p:cNvPr>
          <p:cNvSpPr txBox="1">
            <a:spLocks/>
          </p:cNvSpPr>
          <p:nvPr userDrawn="1"/>
        </p:nvSpPr>
        <p:spPr>
          <a:xfrm>
            <a:off x="11072619" y="6536431"/>
            <a:ext cx="770951" cy="19228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defPPr>
              <a:defRPr lang="ru-RU"/>
            </a:defPPr>
            <a:lvl1pPr marL="0" algn="r" defTabSz="914400" rtl="0" eaLnBrk="1" latinLnBrk="0" hangingPunct="1">
              <a:defRPr sz="1000" b="0" i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D558541-60C9-42A2-8392-FF12533A6B7A}" type="slidenum">
              <a:rPr lang="en-US" smtClean="0">
                <a:solidFill>
                  <a:srgbClr val="919191"/>
                </a:solidFill>
                <a:latin typeface="Arial" panose="020B0604020202020204" pitchFamily="34" charset="0"/>
              </a:rPr>
              <a:pPr/>
              <a:t>‹#›</a:t>
            </a:fld>
            <a:endParaRPr lang="en-US" dirty="0">
              <a:solidFill>
                <a:srgbClr val="919191"/>
              </a:solidFill>
              <a:latin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4D23657-19EB-F054-775B-FB0EDBB4E41F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Arial" panose="020B0604020202020204" pitchFamily="34" charset="0"/>
              </a:rPr>
              <a:t> © 2022 ООО «АксТим»	 </a:t>
            </a:r>
          </a:p>
        </p:txBody>
      </p:sp>
    </p:spTree>
    <p:extLst>
      <p:ext uri="{BB962C8B-B14F-4D97-AF65-F5344CB8AC3E}">
        <p14:creationId xmlns:p14="http://schemas.microsoft.com/office/powerpoint/2010/main" val="823801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773" r:id="rId2"/>
    <p:sldLayoutId id="2147483802" r:id="rId3"/>
    <p:sldLayoutId id="2147483803" r:id="rId4"/>
    <p:sldLayoutId id="2147483798" r:id="rId5"/>
    <p:sldLayoutId id="2147483784" r:id="rId6"/>
    <p:sldLayoutId id="2147483775" r:id="rId7"/>
    <p:sldLayoutId id="2147483776" r:id="rId8"/>
    <p:sldLayoutId id="2147483778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Montserrat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ECBFD8D3-EB97-6E49-946B-AA2CD2FB12AC}"/>
              </a:ext>
            </a:extLst>
          </p:cNvPr>
          <p:cNvSpPr/>
          <p:nvPr userDrawn="1"/>
        </p:nvSpPr>
        <p:spPr>
          <a:xfrm>
            <a:off x="0" y="-100809"/>
            <a:ext cx="12192000" cy="6958809"/>
          </a:xfrm>
          <a:prstGeom prst="rect">
            <a:avLst/>
          </a:prstGeom>
          <a:solidFill>
            <a:srgbClr val="F3702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/>
          <a:lstStyle/>
          <a:p>
            <a:pPr algn="ctr"/>
            <a:endParaRPr lang="en-RU" dirty="0" err="1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517B032-7A73-0ABE-542B-071951933C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14793" y="-100809"/>
            <a:ext cx="7777207" cy="6958809"/>
          </a:xfrm>
          <a:prstGeom prst="rect">
            <a:avLst/>
          </a:prstGeom>
        </p:spPr>
      </p:pic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" name="think-cell Folie" r:id="rId6" imgW="425" imgH="426" progId="TCLayout.ActiveDocument.1">
                  <p:embed/>
                </p:oleObj>
              </mc:Choice>
              <mc:Fallback>
                <p:oleObj name="think-cell Folie" r:id="rId6" imgW="425" imgH="426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AD7963-DB61-414A-82C3-9F5579E128CB}"/>
              </a:ext>
            </a:extLst>
          </p:cNvPr>
          <p:cNvSpPr txBox="1"/>
          <p:nvPr userDrawn="1"/>
        </p:nvSpPr>
        <p:spPr>
          <a:xfrm>
            <a:off x="344806" y="6488668"/>
            <a:ext cx="198691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RU" sz="900" dirty="0">
                <a:latin typeface="Arial" panose="020B0604020202020204" pitchFamily="34" charset="0"/>
              </a:rPr>
              <a:t> © 2022 ООО «АксТим»	 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E1F316D2-FC5D-7E5C-7937-C55AD9510B23}"/>
              </a:ext>
            </a:extLst>
          </p:cNvPr>
          <p:cNvSpPr txBox="1">
            <a:spLocks/>
          </p:cNvSpPr>
          <p:nvPr userDrawn="1"/>
        </p:nvSpPr>
        <p:spPr>
          <a:xfrm>
            <a:off x="522311" y="3364795"/>
            <a:ext cx="4196445" cy="1026582"/>
          </a:xfrm>
          <a:prstGeom prst="rect">
            <a:avLst/>
          </a:prstGeom>
        </p:spPr>
        <p:txBody>
          <a:bodyPr vert="horz" lIns="0" tIns="45720" rIns="0" bIns="0" rtlCol="0" anchor="ctr" anchorCtr="0">
            <a:normAutofit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200" b="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6000" b="1" i="0" cap="none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ru-RU" sz="6000" b="1" i="0" cap="none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сибо</a:t>
            </a:r>
            <a:r>
              <a:rPr lang="ru-RU" sz="6000" b="1" i="0" cap="none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0C4C146-CDFF-455B-E13E-CF209B4AC001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22759" y="400849"/>
            <a:ext cx="3148445" cy="1784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998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</p:sldLayoutIdLst>
  <p:hf hdr="0" dt="0"/>
  <p:txStyles>
    <p:titleStyle>
      <a:lvl1pPr marL="0" indent="0" algn="l" defTabSz="914377" rtl="0" eaLnBrk="1" latinLnBrk="0" hangingPunct="1">
        <a:lnSpc>
          <a:spcPct val="70000"/>
        </a:lnSpc>
        <a:spcBef>
          <a:spcPct val="0"/>
        </a:spcBef>
        <a:buNone/>
        <a:defRPr sz="3200" b="1" kern="1200" cap="none" baseline="0">
          <a:solidFill>
            <a:schemeClr val="tx1"/>
          </a:solidFill>
          <a:latin typeface="Montserrat" pitchFamily="2" charset="-52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1" kern="1200" cap="all" baseline="0">
          <a:solidFill>
            <a:srgbClr val="D7582A"/>
          </a:solidFill>
          <a:latin typeface="Montserrat" pitchFamily="2" charset="-52"/>
          <a:ea typeface="+mn-ea"/>
          <a:cs typeface="+mn-cs"/>
        </a:defRPr>
      </a:lvl1pPr>
      <a:lvl2pPr marL="182563" indent="-18256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2pPr>
      <a:lvl3pPr marL="35877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3pPr>
      <a:lvl4pPr marL="538163" indent="-168275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4pPr>
      <a:lvl5pPr marL="720725" indent="-176213" algn="l" defTabSz="914377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Montserrat" panose="020B0503030202060203" pitchFamily="34" charset="0"/>
        <a:buChar char="–"/>
        <a:defRPr sz="1600" kern="1200">
          <a:solidFill>
            <a:schemeClr val="tx1"/>
          </a:solidFill>
          <a:latin typeface="Montserrat" pitchFamily="2" charset="-52"/>
          <a:ea typeface="+mn-ea"/>
          <a:cs typeface="+mn-cs"/>
        </a:defRPr>
      </a:lvl5pPr>
      <a:lvl6pPr marL="512750" indent="-17303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377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None/>
        <a:defRPr sz="1200" b="1" kern="1200" cap="all" baseline="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377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77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5" orient="horz" pos="240">
          <p15:clr>
            <a:srgbClr val="F26B43"/>
          </p15:clr>
        </p15:guide>
        <p15:guide id="9" pos="240">
          <p15:clr>
            <a:srgbClr val="F26B43"/>
          </p15:clr>
        </p15:guide>
        <p15:guide id="10" orient="horz" pos="3884">
          <p15:clr>
            <a:srgbClr val="F26B43"/>
          </p15:clr>
        </p15:guide>
        <p15:guide id="14" pos="74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92CE90-D4DD-25BD-ECC8-E4EE5A52D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4391" y="2354593"/>
            <a:ext cx="7893986" cy="2148813"/>
          </a:xfrm>
        </p:spPr>
        <p:txBody>
          <a:bodyPr>
            <a:normAutofit fontScale="90000"/>
          </a:bodyPr>
          <a:lstStyle/>
          <a:p>
            <a:r>
              <a:rPr lang="ru-RU" sz="4000" dirty="0"/>
              <a:t>Миграция </a:t>
            </a:r>
            <a:r>
              <a:rPr lang="en-US" sz="4000" dirty="0"/>
              <a:t>Oracle </a:t>
            </a:r>
            <a:r>
              <a:rPr lang="ru-RU" sz="4000" dirty="0"/>
              <a:t>на</a:t>
            </a:r>
            <a:r>
              <a:rPr lang="en-US" sz="4000" dirty="0"/>
              <a:t> PostgreSQL</a:t>
            </a:r>
            <a:br>
              <a:rPr lang="ru-RU" sz="4000" dirty="0"/>
            </a:br>
            <a:r>
              <a:rPr lang="ru-RU" sz="4000" dirty="0"/>
              <a:t>в высоконагруженной системе с </a:t>
            </a:r>
            <a:r>
              <a:rPr lang="ru-RU" sz="4000" dirty="0" err="1"/>
              <a:t>микросервисной</a:t>
            </a:r>
            <a:r>
              <a:rPr lang="ru-RU" sz="4000" dirty="0"/>
              <a:t> архитектурой </a:t>
            </a:r>
            <a:br>
              <a:rPr lang="ru-RU" dirty="0"/>
            </a:br>
            <a:endParaRPr lang="en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81778DF-0E2D-FB60-8052-E91CEDCB54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4391" y="4622825"/>
            <a:ext cx="7786607" cy="997702"/>
          </a:xfrm>
        </p:spPr>
        <p:txBody>
          <a:bodyPr/>
          <a:lstStyle/>
          <a:p>
            <a:r>
              <a:rPr lang="ru-RU" dirty="0"/>
              <a:t>Умников Дмитрий</a:t>
            </a:r>
            <a:r>
              <a:rPr lang="en-US" dirty="0"/>
              <a:t>, PGConf202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48886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B6127-9449-40BF-D832-5CE64E44FE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9228" y="1604545"/>
            <a:ext cx="11407285" cy="1143140"/>
          </a:xfrm>
        </p:spPr>
        <p:txBody>
          <a:bodyPr/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/>
              <a:t>Возможно через вызов функции создания </a:t>
            </a:r>
            <a:r>
              <a:rPr lang="ru-RU" dirty="0" err="1"/>
              <a:t>партиции</a:t>
            </a:r>
            <a:r>
              <a:rPr lang="ru-RU" dirty="0"/>
              <a:t> по триггеру, по </a:t>
            </a:r>
            <a:r>
              <a:rPr lang="ru-RU" dirty="0" err="1"/>
              <a:t>шедулеру</a:t>
            </a:r>
            <a:r>
              <a:rPr lang="ru-RU" dirty="0"/>
              <a:t> (планировщику), вызова процедуры создания </a:t>
            </a:r>
            <a:r>
              <a:rPr lang="ru-RU" dirty="0" err="1"/>
              <a:t>партиции</a:t>
            </a:r>
            <a:r>
              <a:rPr lang="ru-RU" dirty="0"/>
              <a:t> из кода или ручного вызова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/>
              <a:t>Важно создавать через </a:t>
            </a:r>
            <a:r>
              <a:rPr lang="en-US" dirty="0"/>
              <a:t>attach partition</a:t>
            </a:r>
            <a:r>
              <a:rPr lang="ru-RU" dirty="0"/>
              <a:t> с предварительной подготовкой таблиц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4E2779-5647-BC08-DFED-267BCEF55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greSQL – </a:t>
            </a:r>
            <a:r>
              <a:rPr lang="ru-RU" dirty="0"/>
              <a:t>создание </a:t>
            </a:r>
            <a:r>
              <a:rPr lang="ru-RU" dirty="0" err="1"/>
              <a:t>партиции</a:t>
            </a:r>
            <a:endParaRPr lang="en-R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8BF78E-F069-473C-8698-9D62920947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2" y="2893185"/>
            <a:ext cx="11978416" cy="3226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27853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74E2779-5647-BC08-DFED-267BCEF55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greSQL – </a:t>
            </a:r>
            <a:r>
              <a:rPr lang="ru-RU" dirty="0"/>
              <a:t>очистка </a:t>
            </a:r>
            <a:r>
              <a:rPr lang="ru-RU" dirty="0" err="1"/>
              <a:t>партиций</a:t>
            </a:r>
            <a:endParaRPr lang="en-RU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9D8FF69-AA77-4885-A7F7-FFC0FB938D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346" y="1721963"/>
            <a:ext cx="11837308" cy="4066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0122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74E2779-5647-BC08-DFED-267BCEF55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greSQL – </a:t>
            </a:r>
            <a:r>
              <a:rPr lang="ru-RU" dirty="0"/>
              <a:t>очистка </a:t>
            </a:r>
            <a:r>
              <a:rPr lang="ru-RU" dirty="0" err="1"/>
              <a:t>партиций</a:t>
            </a:r>
            <a:endParaRPr lang="en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9BB4A9F-F055-470E-9AE4-A1301E8558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20" y="2207751"/>
            <a:ext cx="11843359" cy="36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4277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B6127-9449-40BF-D832-5CE64E44FE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9228" y="1728833"/>
            <a:ext cx="11407285" cy="417276"/>
          </a:xfrm>
        </p:spPr>
        <p:txBody>
          <a:bodyPr/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/>
              <a:t>Не забываем про </a:t>
            </a:r>
            <a:r>
              <a:rPr lang="en-US" dirty="0"/>
              <a:t>VACUUM </a:t>
            </a:r>
            <a:r>
              <a:rPr lang="ru-RU" dirty="0"/>
              <a:t>после очистки </a:t>
            </a:r>
            <a:r>
              <a:rPr lang="ru-RU" dirty="0" err="1"/>
              <a:t>партиции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4E2779-5647-BC08-DFED-267BCEF55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greSQL – </a:t>
            </a:r>
            <a:r>
              <a:rPr lang="ru-RU" dirty="0"/>
              <a:t>очистка </a:t>
            </a:r>
            <a:r>
              <a:rPr lang="ru-RU" dirty="0" err="1"/>
              <a:t>партиции</a:t>
            </a:r>
            <a:endParaRPr lang="en-R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F8BF78E-F069-473C-8698-9D629209476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14" y="2456827"/>
            <a:ext cx="11978371" cy="3226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50298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B6127-9449-40BF-D832-5CE64E44FE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8106" y="1604545"/>
            <a:ext cx="11407285" cy="1143140"/>
          </a:xfrm>
        </p:spPr>
        <p:txBody>
          <a:bodyPr/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/>
              <a:t>VACUUM </a:t>
            </a:r>
            <a:r>
              <a:rPr lang="ru-RU" dirty="0"/>
              <a:t>по </a:t>
            </a:r>
            <a:r>
              <a:rPr lang="ru-RU" dirty="0" err="1"/>
              <a:t>партицированным</a:t>
            </a:r>
            <a:r>
              <a:rPr lang="ru-RU" dirty="0"/>
              <a:t> таблицам нужно выполнять вручную (</a:t>
            </a:r>
            <a:r>
              <a:rPr lang="en-US" dirty="0"/>
              <a:t>vacuum analyze test.customer_subprocess_100;</a:t>
            </a:r>
            <a:r>
              <a:rPr lang="ru-RU" dirty="0"/>
              <a:t>), в текущем бизнес-процессе это выполняется после окончания работы </a:t>
            </a:r>
            <a:r>
              <a:rPr lang="en-US" dirty="0"/>
              <a:t>ETL</a:t>
            </a:r>
            <a:r>
              <a:rPr lang="ru-RU" dirty="0"/>
              <a:t>, после завершения работы подпроцесса, а также после очистки данных.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4E2779-5647-BC08-DFED-267BCEF55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тимизация запросов – </a:t>
            </a:r>
            <a:r>
              <a:rPr lang="en-US" dirty="0"/>
              <a:t>VACUUM</a:t>
            </a:r>
            <a:endParaRPr lang="en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207CC0A-50CE-4D20-83D5-7E1A90ACF3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000" y="2553677"/>
            <a:ext cx="11342000" cy="383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6624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B6127-9449-40BF-D832-5CE64E44FE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1574" y="1959652"/>
            <a:ext cx="11407285" cy="1143140"/>
          </a:xfrm>
        </p:spPr>
        <p:txBody>
          <a:bodyPr/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/>
              <a:t>Можно провести НТ с индексами из </a:t>
            </a:r>
            <a:r>
              <a:rPr lang="en-US" dirty="0"/>
              <a:t>Oracle </a:t>
            </a:r>
            <a:r>
              <a:rPr lang="ru-RU" dirty="0"/>
              <a:t>и посмотреть какие из них из используются по </a:t>
            </a:r>
            <a:r>
              <a:rPr lang="en-US" dirty="0" err="1"/>
              <a:t>pg_stat_user_tables</a:t>
            </a:r>
            <a:r>
              <a:rPr lang="en-US" dirty="0"/>
              <a:t> </a:t>
            </a: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4E2779-5647-BC08-DFED-267BCEF55A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тимизация запросов – обработка индексов</a:t>
            </a:r>
            <a:endParaRPr lang="en-R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B5ED8FA-C840-4C5B-88F6-1DA2D98606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9" y="2665755"/>
            <a:ext cx="11959241" cy="2345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83663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B6127-9449-40BF-D832-5CE64E44FE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9228" y="1524646"/>
            <a:ext cx="11407285" cy="842890"/>
          </a:xfrm>
        </p:spPr>
        <p:txBody>
          <a:bodyPr/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/>
              <a:t>Позволяет добиться целостности данных и помочь планировщику увидеть нужные </a:t>
            </a:r>
            <a:r>
              <a:rPr lang="ru-RU" dirty="0" err="1"/>
              <a:t>партиции</a:t>
            </a:r>
            <a:r>
              <a:rPr lang="ru-RU" dirty="0"/>
              <a:t>.</a:t>
            </a:r>
          </a:p>
          <a:p>
            <a:r>
              <a:rPr lang="ru-RU" b="1" dirty="0"/>
              <a:t>До ограничения</a:t>
            </a:r>
            <a:r>
              <a:rPr lang="en-US" b="1" dirty="0"/>
              <a:t>:</a:t>
            </a:r>
            <a:endParaRPr lang="ru-RU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4E2779-5647-BC08-DFED-267BCEF55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748" y="381000"/>
            <a:ext cx="10300252" cy="842890"/>
          </a:xfrm>
        </p:spPr>
        <p:txBody>
          <a:bodyPr>
            <a:normAutofit/>
          </a:bodyPr>
          <a:lstStyle/>
          <a:p>
            <a:r>
              <a:rPr lang="ru-RU" dirty="0"/>
              <a:t>Оптимизация запросов – добавление ограничений</a:t>
            </a:r>
            <a:endParaRPr lang="en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259DCCF-7A03-4742-9E8E-968797BCFDC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715" y="2277674"/>
            <a:ext cx="11407285" cy="4132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7850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B6127-9449-40BF-D832-5CE64E44FE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8005" y="1524646"/>
            <a:ext cx="11407285" cy="1143140"/>
          </a:xfrm>
        </p:spPr>
        <p:txBody>
          <a:bodyPr/>
          <a:lstStyle/>
          <a:p>
            <a:r>
              <a:rPr lang="ru-RU" b="1" dirty="0"/>
              <a:t>С ограничением</a:t>
            </a:r>
            <a:r>
              <a:rPr lang="en-US" b="1" dirty="0"/>
              <a:t>:</a:t>
            </a:r>
            <a:endParaRPr lang="ru-RU" b="1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4E2779-5647-BC08-DFED-267BCEF55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748" y="381000"/>
            <a:ext cx="10300252" cy="842890"/>
          </a:xfrm>
        </p:spPr>
        <p:txBody>
          <a:bodyPr>
            <a:normAutofit/>
          </a:bodyPr>
          <a:lstStyle/>
          <a:p>
            <a:r>
              <a:rPr lang="ru-RU" dirty="0"/>
              <a:t>Оптимизация запросов – добавление ограничений</a:t>
            </a:r>
            <a:endParaRPr lang="en-R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043096C-F2ED-4783-89AD-AA59FFD592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761" y="1908834"/>
            <a:ext cx="10940425" cy="4562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4368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3">
            <a:extLst>
              <a:ext uri="{FF2B5EF4-FFF2-40B4-BE49-F238E27FC236}">
                <a16:creationId xmlns:a16="http://schemas.microsoft.com/office/drawing/2014/main" id="{45475290-BD34-4108-BFC2-9F20E4C7CB59}"/>
              </a:ext>
            </a:extLst>
          </p:cNvPr>
          <p:cNvSpPr txBox="1">
            <a:spLocks/>
          </p:cNvSpPr>
          <p:nvPr/>
        </p:nvSpPr>
        <p:spPr>
          <a:xfrm>
            <a:off x="5673094" y="1491422"/>
            <a:ext cx="5172856" cy="84289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marL="0" indent="0" algn="l" defTabSz="914377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3200" b="1" kern="1200" cap="none" baseline="0">
                <a:solidFill>
                  <a:schemeClr val="tx1"/>
                </a:solidFill>
                <a:latin typeface="Montserrat" pitchFamily="2" charset="-52"/>
                <a:ea typeface="+mj-ea"/>
                <a:cs typeface="+mj-cs"/>
              </a:defRPr>
            </a:lvl1pPr>
          </a:lstStyle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Модель данных и хранимые процедуры</a:t>
            </a:r>
            <a:endParaRPr lang="en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Content Placeholder 5">
            <a:extLst>
              <a:ext uri="{FF2B5EF4-FFF2-40B4-BE49-F238E27FC236}">
                <a16:creationId xmlns:a16="http://schemas.microsoft.com/office/drawing/2014/main" id="{6A9AAAD7-F364-44FB-8F5E-D067F5EBAE93}"/>
              </a:ext>
            </a:extLst>
          </p:cNvPr>
          <p:cNvSpPr txBox="1">
            <a:spLocks/>
          </p:cNvSpPr>
          <p:nvPr/>
        </p:nvSpPr>
        <p:spPr>
          <a:xfrm>
            <a:off x="5379125" y="2601767"/>
            <a:ext cx="6360633" cy="287999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000" dirty="0">
                <a:solidFill>
                  <a:srgbClr val="000000"/>
                </a:solidFill>
              </a:rPr>
              <a:t>Приведение типов, приведение к </a:t>
            </a:r>
            <a:r>
              <a:rPr lang="en-US" sz="2000" dirty="0">
                <a:solidFill>
                  <a:srgbClr val="000000"/>
                </a:solidFill>
              </a:rPr>
              <a:t>Boolean, </a:t>
            </a:r>
            <a:r>
              <a:rPr lang="ru-RU" sz="2000" dirty="0">
                <a:solidFill>
                  <a:srgbClr val="000000"/>
                </a:solidFill>
              </a:rPr>
              <a:t>доработка </a:t>
            </a:r>
            <a:r>
              <a:rPr lang="en-US" sz="2000" dirty="0">
                <a:solidFill>
                  <a:srgbClr val="000000"/>
                </a:solidFill>
              </a:rPr>
              <a:t>VIEW </a:t>
            </a:r>
            <a:r>
              <a:rPr lang="ru-RU" sz="2000" dirty="0">
                <a:solidFill>
                  <a:srgbClr val="000000"/>
                </a:solidFill>
              </a:rPr>
              <a:t>для внешних систем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000" dirty="0">
                <a:solidFill>
                  <a:srgbClr val="000000"/>
                </a:solidFill>
              </a:rPr>
              <a:t>Автоматизированный перевод процедур на синтаксис </a:t>
            </a:r>
            <a:r>
              <a:rPr lang="en-US" sz="2000" dirty="0">
                <a:solidFill>
                  <a:srgbClr val="000000"/>
                </a:solidFill>
              </a:rPr>
              <a:t>PostgreSQL </a:t>
            </a:r>
            <a:r>
              <a:rPr lang="ru-RU" sz="2000" dirty="0">
                <a:solidFill>
                  <a:srgbClr val="000000"/>
                </a:solidFill>
              </a:rPr>
              <a:t>и ручная доработка</a:t>
            </a:r>
            <a:endParaRPr lang="en-US" sz="2000" dirty="0">
              <a:solidFill>
                <a:srgbClr val="000000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2000" dirty="0">
                <a:solidFill>
                  <a:srgbClr val="000000"/>
                </a:solidFill>
              </a:rPr>
              <a:t>Важность </a:t>
            </a:r>
            <a:r>
              <a:rPr lang="ru-RU" sz="2000" dirty="0" err="1">
                <a:solidFill>
                  <a:srgbClr val="000000"/>
                </a:solidFill>
              </a:rPr>
              <a:t>автотестов</a:t>
            </a:r>
            <a:r>
              <a:rPr lang="ru-RU" sz="2000" dirty="0">
                <a:solidFill>
                  <a:srgbClr val="000000"/>
                </a:solidFill>
              </a:rPr>
              <a:t> при работе с логикой в БД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Стоит ли </a:t>
            </a:r>
            <a:r>
              <a:rPr kumimoji="0" 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рефакторить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систему сразу или </a:t>
            </a:r>
            <a:r>
              <a:rPr lang="ru-RU" sz="2000" dirty="0">
                <a:solidFill>
                  <a:srgbClr val="000000"/>
                </a:solidFill>
              </a:rPr>
              <a:t>сначала миграция, а потом рефакторинг?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2E30744-FBFE-4DEE-ABD6-A0F99721E1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93" y="1376239"/>
            <a:ext cx="4844273" cy="4105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22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CB6127-9449-40BF-D832-5CE64E44FED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8106" y="1657404"/>
            <a:ext cx="11407285" cy="1143140"/>
          </a:xfrm>
        </p:spPr>
        <p:txBody>
          <a:bodyPr/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 err="1"/>
              <a:t>max_locks_per_transaction</a:t>
            </a:r>
            <a:r>
              <a:rPr lang="en-US" dirty="0"/>
              <a:t>=1000, </a:t>
            </a:r>
            <a:r>
              <a:rPr lang="ru-RU" dirty="0"/>
              <a:t>т.к. много тяжелых аналитических запросов, обращающихся к нескольким таблицам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/>
              <a:t>выставление </a:t>
            </a:r>
            <a:r>
              <a:rPr lang="en-US" dirty="0" err="1"/>
              <a:t>transtaction_isolation</a:t>
            </a:r>
            <a:r>
              <a:rPr lang="en-US" dirty="0"/>
              <a:t> </a:t>
            </a:r>
            <a:r>
              <a:rPr lang="ru-RU" dirty="0"/>
              <a:t>в </a:t>
            </a:r>
            <a:r>
              <a:rPr lang="en-US" dirty="0"/>
              <a:t>read </a:t>
            </a:r>
            <a:r>
              <a:rPr lang="en-US" dirty="0" err="1"/>
              <a:t>commited</a:t>
            </a:r>
            <a:endParaRPr lang="en-US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/>
              <a:t>увеличение размера </a:t>
            </a:r>
            <a:r>
              <a:rPr lang="en-US" dirty="0" err="1"/>
              <a:t>temp_file_limit</a:t>
            </a:r>
            <a:r>
              <a:rPr lang="ru-RU" dirty="0"/>
              <a:t>, его связь с индексами и миграциями</a:t>
            </a: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74E2779-5647-BC08-DFED-267BCEF55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748" y="381000"/>
            <a:ext cx="10300252" cy="842890"/>
          </a:xfrm>
        </p:spPr>
        <p:txBody>
          <a:bodyPr>
            <a:normAutofit/>
          </a:bodyPr>
          <a:lstStyle/>
          <a:p>
            <a:r>
              <a:rPr lang="ru-RU" dirty="0"/>
              <a:t>Конфигурация </a:t>
            </a:r>
            <a:r>
              <a:rPr lang="en-US" dirty="0"/>
              <a:t>PostgreSQL </a:t>
            </a:r>
            <a:r>
              <a:rPr lang="ru-RU" dirty="0"/>
              <a:t>и </a:t>
            </a:r>
            <a:r>
              <a:rPr lang="en-US" dirty="0" err="1"/>
              <a:t>temp_file_limit</a:t>
            </a:r>
            <a:endParaRPr lang="en-RU" dirty="0"/>
          </a:p>
        </p:txBody>
      </p:sp>
      <p:pic>
        <p:nvPicPr>
          <p:cNvPr id="8194" name="Picture 2" descr="https://habrastorage.org/r/w1560/webt/50/w4/vk/50w4vkfcxhptfszoaxaw-hul154.png">
            <a:extLst>
              <a:ext uri="{FF2B5EF4-FFF2-40B4-BE49-F238E27FC236}">
                <a16:creationId xmlns:a16="http://schemas.microsoft.com/office/drawing/2014/main" id="{34222378-E756-454B-B8FC-C6555C53DD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700" y="3234058"/>
            <a:ext cx="11510300" cy="2943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44225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A0B3ED5B-08C9-3DA1-4A70-83FA853B50E8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400" dirty="0"/>
              <a:t>Описание бизнес-кейса</a:t>
            </a:r>
            <a:endParaRPr lang="en-US" sz="2400" dirty="0"/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400" dirty="0" err="1"/>
              <a:t>Greenplum</a:t>
            </a:r>
            <a:r>
              <a:rPr lang="ru-RU" sz="2400" dirty="0"/>
              <a:t> как первая остановка в поисках альтернативы </a:t>
            </a:r>
            <a:r>
              <a:rPr lang="ru-RU" sz="2400" dirty="0" err="1"/>
              <a:t>Oracle</a:t>
            </a:r>
            <a:endParaRPr lang="ru-RU" sz="2400" dirty="0"/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400" dirty="0"/>
              <a:t>Переход на </a:t>
            </a:r>
            <a:r>
              <a:rPr lang="en-US" sz="2400" dirty="0"/>
              <a:t>PostgreSQL </a:t>
            </a:r>
            <a:r>
              <a:rPr lang="ru-RU" sz="2400" dirty="0"/>
              <a:t>и разделение баз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400" dirty="0"/>
              <a:t>Проблемы и решения при миграции с </a:t>
            </a:r>
            <a:r>
              <a:rPr lang="en-US" sz="2400" dirty="0"/>
              <a:t>Oracle </a:t>
            </a:r>
            <a:r>
              <a:rPr lang="ru-RU" sz="2400" dirty="0"/>
              <a:t>на </a:t>
            </a:r>
            <a:r>
              <a:rPr lang="en-US" sz="2400" dirty="0"/>
              <a:t>PostgreSQL</a:t>
            </a:r>
          </a:p>
          <a:p>
            <a:pPr marL="8001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400" dirty="0"/>
              <a:t>Управление </a:t>
            </a:r>
            <a:r>
              <a:rPr lang="ru-RU" sz="2400" dirty="0" err="1"/>
              <a:t>партициями</a:t>
            </a:r>
            <a:endParaRPr lang="ru-RU" sz="2400" dirty="0"/>
          </a:p>
          <a:p>
            <a:pPr marL="8001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400" dirty="0"/>
              <a:t>Ограничения и индексы для оптимизации запросов</a:t>
            </a:r>
          </a:p>
          <a:p>
            <a:pPr marL="8001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400" dirty="0"/>
              <a:t>Изменение модели данных</a:t>
            </a:r>
          </a:p>
          <a:p>
            <a:pPr marL="800100" lvl="1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400" dirty="0"/>
              <a:t>Доработка и тестирование процедур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400" dirty="0"/>
              <a:t>Конфигурация </a:t>
            </a:r>
            <a:r>
              <a:rPr lang="en-US" sz="2400" dirty="0"/>
              <a:t>PostgreSQL</a:t>
            </a:r>
          </a:p>
          <a:p>
            <a:pPr marL="342900" indent="-34290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400" dirty="0"/>
              <a:t>Доработки </a:t>
            </a:r>
            <a:r>
              <a:rPr lang="ru-RU" sz="2400" dirty="0" err="1"/>
              <a:t>микросервисов</a:t>
            </a:r>
            <a:endParaRPr lang="ru-RU" sz="24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78ADC55-76B5-8095-A889-2DE638D2F1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  <a:endParaRPr lang="en-RU" dirty="0"/>
          </a:p>
        </p:txBody>
      </p:sp>
    </p:spTree>
    <p:extLst>
      <p:ext uri="{BB962C8B-B14F-4D97-AF65-F5344CB8AC3E}">
        <p14:creationId xmlns:p14="http://schemas.microsoft.com/office/powerpoint/2010/main" val="42419675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6D1FE1-5566-A4AD-1C19-225140EF9F3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78227" y="1798846"/>
            <a:ext cx="3268287" cy="4149467"/>
          </a:xfrm>
        </p:spPr>
        <p:txBody>
          <a:bodyPr/>
          <a:lstStyle/>
          <a:p>
            <a:r>
              <a:rPr lang="ru-RU" sz="1600" dirty="0"/>
              <a:t>Особенности разработки при миграции СУБД</a:t>
            </a:r>
            <a:r>
              <a:rPr lang="en-US" sz="1600" dirty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1600" dirty="0"/>
              <a:t>Необходимо догонять код при идущей разработке на </a:t>
            </a:r>
            <a:r>
              <a:rPr lang="en-US" sz="1600" dirty="0"/>
              <a:t>Oracle</a:t>
            </a:r>
            <a:endParaRPr lang="ru-RU" sz="1600" dirty="0"/>
          </a:p>
          <a:p>
            <a:pPr marL="457200" indent="-457200">
              <a:buFont typeface="+mj-lt"/>
              <a:buAutoNum type="arabicPeriod"/>
            </a:pPr>
            <a:r>
              <a:rPr lang="ru-RU" sz="1600" dirty="0"/>
              <a:t>Выделение интерфейсной логики и разделение репозиториев</a:t>
            </a:r>
            <a:r>
              <a:rPr lang="en-US" sz="1600" dirty="0"/>
              <a:t> </a:t>
            </a:r>
            <a:r>
              <a:rPr lang="ru-RU" sz="1600" dirty="0"/>
              <a:t>для работы с обеими СУБД</a:t>
            </a:r>
            <a:endParaRPr lang="en-US" sz="1600" dirty="0"/>
          </a:p>
          <a:p>
            <a:pPr marL="457200" indent="-457200">
              <a:buFont typeface="+mj-lt"/>
              <a:buAutoNum type="arabicPeriod"/>
            </a:pPr>
            <a:r>
              <a:rPr lang="ru-RU" sz="1600" dirty="0"/>
              <a:t>Сравнение результатов на обеих базах через переключение сервисов </a:t>
            </a:r>
            <a:r>
              <a:rPr lang="ru-RU" sz="1600" dirty="0" err="1"/>
              <a:t>редеплоем</a:t>
            </a:r>
            <a:endParaRPr lang="en-RU" sz="16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B45173F-64BE-D2E4-3DCE-95B08345C5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greSQL – </a:t>
            </a:r>
            <a:r>
              <a:rPr lang="ru-RU" dirty="0"/>
              <a:t>доработка </a:t>
            </a:r>
            <a:r>
              <a:rPr lang="ru-RU" dirty="0" err="1"/>
              <a:t>микросервисов</a:t>
            </a:r>
            <a:endParaRPr lang="en-RU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70C2724-6107-45D2-B28D-7F9B160416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29025" y="2936745"/>
            <a:ext cx="8181975" cy="3133725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4076F5C-C26F-4770-9A37-AA077469D6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45584" y="1958536"/>
            <a:ext cx="4559397" cy="378102"/>
          </a:xfrm>
        </p:spPr>
        <p:txBody>
          <a:bodyPr/>
          <a:lstStyle/>
          <a:p>
            <a:r>
              <a:rPr lang="ru-RU" sz="1800" b="1" dirty="0"/>
              <a:t>Взаимодействие </a:t>
            </a:r>
            <a:r>
              <a:rPr lang="ru-RU" sz="1800" b="1" dirty="0" err="1"/>
              <a:t>микросервисов</a:t>
            </a:r>
            <a:r>
              <a:rPr lang="ru-RU" sz="1800" b="1" dirty="0"/>
              <a:t> с БД</a:t>
            </a:r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346928067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630192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6D1FE1-5566-A4AD-1C19-225140EF9F3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231665" y="1949675"/>
            <a:ext cx="2865040" cy="3621565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ru-RU" dirty="0"/>
              <a:t>В одном расчете 600 ГБ на входе, 2 ТБ на выходе</a:t>
            </a:r>
          </a:p>
          <a:p>
            <a:pPr marL="457200" indent="-457200">
              <a:buFont typeface="+mj-lt"/>
              <a:buAutoNum type="arabicPeriod"/>
            </a:pPr>
            <a:endParaRPr lang="ru-RU" dirty="0"/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Смешанный профиль нагрузки</a:t>
            </a:r>
          </a:p>
          <a:p>
            <a:pPr marL="457200" indent="-457200">
              <a:buFont typeface="+mj-lt"/>
              <a:buAutoNum type="arabicPeriod"/>
            </a:pPr>
            <a:endParaRPr lang="en-US" dirty="0"/>
          </a:p>
          <a:p>
            <a:pPr marL="457200" indent="-457200">
              <a:buFont typeface="+mj-lt"/>
              <a:buAutoNum type="arabicPeriod"/>
            </a:pPr>
            <a:r>
              <a:rPr lang="ru-RU" dirty="0"/>
              <a:t>Несколько параллельных процессов и подпроцессов</a:t>
            </a:r>
            <a:endParaRPr lang="en-RU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B45173F-64BE-D2E4-3DCE-95B08345C5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изнес-кейс</a:t>
            </a:r>
            <a:endParaRPr lang="en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416AFE-A140-4E50-87AA-0DC86FAF502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6589" y="1505584"/>
            <a:ext cx="3644994" cy="378102"/>
          </a:xfrm>
        </p:spPr>
        <p:txBody>
          <a:bodyPr/>
          <a:lstStyle/>
          <a:p>
            <a:r>
              <a:rPr lang="en-US" sz="1800" b="1" dirty="0"/>
              <a:t>High-level design</a:t>
            </a:r>
            <a:r>
              <a:rPr lang="ru-RU" sz="1800" b="1" dirty="0"/>
              <a:t> </a:t>
            </a:r>
            <a:r>
              <a:rPr lang="en-US" sz="1800" b="1" dirty="0"/>
              <a:t>AS I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366033E-737E-4E90-9C0A-B2BA553780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43338" y="1921394"/>
            <a:ext cx="7670205" cy="4483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70816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78ADC55-76B5-8095-A889-2DE638D2F1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enplum – </a:t>
            </a:r>
            <a:r>
              <a:rPr lang="ru-RU" dirty="0"/>
              <a:t>распределение данных</a:t>
            </a:r>
            <a:endParaRPr lang="en-RU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87D077-31B1-44A2-92AC-0330F33A24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4642" y="1846222"/>
            <a:ext cx="7942716" cy="5010021"/>
          </a:xfrm>
          <a:prstGeom prst="rect">
            <a:avLst/>
          </a:prstGeom>
        </p:spPr>
      </p:pic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0BDA7FC-8EF0-4735-99FC-C7713290BF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179249" y="1657171"/>
            <a:ext cx="4341643" cy="378102"/>
          </a:xfrm>
        </p:spPr>
        <p:txBody>
          <a:bodyPr/>
          <a:lstStyle/>
          <a:p>
            <a:r>
              <a:rPr lang="ru-RU" sz="1800" b="1" dirty="0"/>
              <a:t>Общая архитектура </a:t>
            </a:r>
            <a:r>
              <a:rPr lang="en-US" sz="1800" b="1" dirty="0"/>
              <a:t>Greenplum</a:t>
            </a:r>
          </a:p>
        </p:txBody>
      </p:sp>
    </p:spTree>
    <p:extLst>
      <p:ext uri="{BB962C8B-B14F-4D97-AF65-F5344CB8AC3E}">
        <p14:creationId xmlns:p14="http://schemas.microsoft.com/office/powerpoint/2010/main" val="1207928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6D1FE1-5566-A4AD-1C19-225140EF9F3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220590" y="2089687"/>
            <a:ext cx="3088218" cy="4000028"/>
          </a:xfrm>
        </p:spPr>
        <p:txBody>
          <a:bodyPr/>
          <a:lstStyle/>
          <a:p>
            <a:r>
              <a:rPr lang="ru-RU" sz="1600" dirty="0"/>
              <a:t>Перед внедрением нужно учесть, что</a:t>
            </a:r>
            <a:r>
              <a:rPr lang="en-US" sz="1600" dirty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1600" dirty="0"/>
              <a:t>Необходима хорошо проработанная модель данных</a:t>
            </a:r>
            <a:r>
              <a:rPr lang="en-US" sz="1600" dirty="0"/>
              <a:t> (distribution key)</a:t>
            </a:r>
            <a:endParaRPr lang="ru-RU" sz="1600" dirty="0"/>
          </a:p>
          <a:p>
            <a:pPr marL="457200" indent="-457200">
              <a:buFont typeface="+mj-lt"/>
              <a:buAutoNum type="arabicPeriod"/>
            </a:pPr>
            <a:r>
              <a:rPr lang="en-US" sz="1600" dirty="0"/>
              <a:t>OLAP &gt; OLTP</a:t>
            </a:r>
            <a:r>
              <a:rPr lang="ru-RU" sz="1600" dirty="0"/>
              <a:t> для </a:t>
            </a:r>
            <a:r>
              <a:rPr lang="en-US" sz="1600" dirty="0"/>
              <a:t>Greenplum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1600" dirty="0"/>
              <a:t>Greenplum </a:t>
            </a:r>
            <a:r>
              <a:rPr lang="ru-RU" sz="1600" dirty="0"/>
              <a:t>базируется на </a:t>
            </a:r>
            <a:r>
              <a:rPr lang="en-US" sz="1600" dirty="0"/>
              <a:t>PostgreSQL 9.4.26</a:t>
            </a:r>
            <a:endParaRPr lang="en-RU" sz="16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B45173F-64BE-D2E4-3DCE-95B08345C5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eenplum </a:t>
            </a:r>
            <a:r>
              <a:rPr lang="ru-RU" dirty="0"/>
              <a:t>– выводы</a:t>
            </a:r>
            <a:endParaRPr lang="en-RU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608B837-EA61-4D43-BC05-469AE62D900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94728" y="1900636"/>
            <a:ext cx="4138366" cy="378102"/>
          </a:xfrm>
        </p:spPr>
        <p:txBody>
          <a:bodyPr/>
          <a:lstStyle/>
          <a:p>
            <a:r>
              <a:rPr lang="en-US" sz="1800" b="1" dirty="0"/>
              <a:t>Greenplum High-level design</a:t>
            </a:r>
            <a:r>
              <a:rPr lang="ru-RU" sz="1800" b="1" dirty="0"/>
              <a:t> </a:t>
            </a:r>
            <a:r>
              <a:rPr lang="en-US" sz="1800" b="1" dirty="0"/>
              <a:t>TO B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EECB62-C8DD-410B-B3F1-896226DDAD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9754" y="2625353"/>
            <a:ext cx="7539922" cy="3196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500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6D1FE1-5566-A4AD-1C19-225140EF9F38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122616" y="1791093"/>
            <a:ext cx="3268287" cy="4082079"/>
          </a:xfrm>
        </p:spPr>
        <p:txBody>
          <a:bodyPr/>
          <a:lstStyle/>
          <a:p>
            <a:r>
              <a:rPr lang="ru-RU" sz="1600" dirty="0"/>
              <a:t>Преимущества новой архитектуры</a:t>
            </a:r>
            <a:r>
              <a:rPr lang="en-US" sz="1600" dirty="0"/>
              <a:t>: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1600" dirty="0"/>
              <a:t>Уменьшение объема данных, задействованных в процессе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1600" dirty="0"/>
              <a:t>Разные профили нагрузки</a:t>
            </a:r>
            <a:r>
              <a:rPr lang="en-US" sz="1600" dirty="0"/>
              <a:t>: </a:t>
            </a:r>
            <a:r>
              <a:rPr lang="ru-RU" sz="1600" dirty="0"/>
              <a:t>адаптация ресурсов, индексов</a:t>
            </a:r>
            <a:endParaRPr lang="en-US" sz="1600" dirty="0"/>
          </a:p>
          <a:p>
            <a:pPr marL="457200" indent="-457200">
              <a:buFont typeface="+mj-lt"/>
              <a:buAutoNum type="arabicPeriod"/>
            </a:pPr>
            <a:r>
              <a:rPr lang="ru-RU" sz="1600" dirty="0"/>
              <a:t>Эффективная архивация данных с помощью встроенного </a:t>
            </a:r>
            <a:r>
              <a:rPr lang="en-US" sz="1600" dirty="0"/>
              <a:t>COPY</a:t>
            </a:r>
            <a:endParaRPr lang="en-RU" sz="1600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B45173F-64BE-D2E4-3DCE-95B08345C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748" y="343293"/>
            <a:ext cx="10300252" cy="842890"/>
          </a:xfrm>
        </p:spPr>
        <p:txBody>
          <a:bodyPr/>
          <a:lstStyle/>
          <a:p>
            <a:r>
              <a:rPr lang="en-US" dirty="0"/>
              <a:t>PostgreSQL – </a:t>
            </a:r>
            <a:r>
              <a:rPr lang="ru-RU" dirty="0"/>
              <a:t>разделение БД на две</a:t>
            </a:r>
            <a:endParaRPr lang="en-RU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588004-5B72-4E55-9F98-9AAEEE6E86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52789" y="2085397"/>
            <a:ext cx="6729273" cy="4562475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EA03D92-6531-4B9F-B3A2-EEFD0594BF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894928" y="1629787"/>
            <a:ext cx="3644994" cy="378102"/>
          </a:xfrm>
        </p:spPr>
        <p:txBody>
          <a:bodyPr/>
          <a:lstStyle/>
          <a:p>
            <a:r>
              <a:rPr lang="ru-RU" sz="1800" b="1" dirty="0"/>
              <a:t>Итоговый</a:t>
            </a:r>
            <a:r>
              <a:rPr lang="en-US" sz="1800" b="1" dirty="0"/>
              <a:t> high-level design</a:t>
            </a:r>
          </a:p>
        </p:txBody>
      </p:sp>
    </p:spTree>
    <p:extLst>
      <p:ext uri="{BB962C8B-B14F-4D97-AF65-F5344CB8AC3E}">
        <p14:creationId xmlns:p14="http://schemas.microsoft.com/office/powerpoint/2010/main" val="31558535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C57DBD80-978E-6B8C-9FA8-E452288FF9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748" y="323341"/>
            <a:ext cx="10300252" cy="842890"/>
          </a:xfrm>
        </p:spPr>
        <p:txBody>
          <a:bodyPr/>
          <a:lstStyle/>
          <a:p>
            <a:r>
              <a:rPr lang="en-US" dirty="0"/>
              <a:t>PostgreSQL </a:t>
            </a:r>
            <a:r>
              <a:rPr lang="ru-RU" dirty="0"/>
              <a:t>– почему и зачем </a:t>
            </a:r>
            <a:r>
              <a:rPr lang="ru-RU" dirty="0" err="1"/>
              <a:t>партиции</a:t>
            </a:r>
            <a:r>
              <a:rPr lang="ru-RU" dirty="0"/>
              <a:t>?</a:t>
            </a:r>
            <a:endParaRPr lang="en-RU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D5BE572-4290-4C73-B45A-0D4EE79413D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8608" y="2108737"/>
            <a:ext cx="8072392" cy="3729876"/>
          </a:xfrm>
        </p:spPr>
        <p:txBody>
          <a:bodyPr/>
          <a:lstStyle/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000" dirty="0"/>
              <a:t>Органично встраиваются во взаимодействие по бизнес-процессу (распределение подпроцессов по </a:t>
            </a:r>
            <a:r>
              <a:rPr lang="ru-RU" sz="2000" dirty="0" err="1"/>
              <a:t>партициям</a:t>
            </a:r>
            <a:r>
              <a:rPr lang="ru-RU" sz="2000" dirty="0"/>
              <a:t>)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000" dirty="0"/>
              <a:t>Позволяют упростить обслуживание таблицы с </a:t>
            </a:r>
            <a:r>
              <a:rPr lang="en-US" sz="2000" dirty="0"/>
              <a:t>VACUUM</a:t>
            </a:r>
            <a:endParaRPr lang="ru-RU" sz="2000" dirty="0"/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000" dirty="0"/>
              <a:t>Оптимизируют работу запросов за счет обработки меньшего объема данных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000" dirty="0"/>
              <a:t>Возможно работать с </a:t>
            </a:r>
            <a:r>
              <a:rPr lang="ru-RU" sz="2000" dirty="0" err="1"/>
              <a:t>партициями</a:t>
            </a:r>
            <a:r>
              <a:rPr lang="ru-RU" sz="2000" dirty="0"/>
              <a:t> как с полноценными таблицами (блокировки, отсоединение от главной таблицы, индексы)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2000" dirty="0"/>
              <a:t>Есть возможность использовать готовые решения автоматизации (расширение </a:t>
            </a:r>
            <a:r>
              <a:rPr lang="en-US" sz="2000" dirty="0" err="1"/>
              <a:t>pg_partman</a:t>
            </a:r>
            <a:r>
              <a:rPr lang="en-US" sz="2000" dirty="0"/>
              <a:t>)</a:t>
            </a:r>
            <a:endParaRPr lang="ru-RU" sz="20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AF04AA0-B8B2-4FC3-9C34-8D53C53FED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091" y="1587848"/>
            <a:ext cx="3357199" cy="4771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2478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74E2779-5647-BC08-DFED-267BCEF55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0748" y="302467"/>
            <a:ext cx="10300252" cy="842890"/>
          </a:xfrm>
        </p:spPr>
        <p:txBody>
          <a:bodyPr/>
          <a:lstStyle/>
          <a:p>
            <a:r>
              <a:rPr lang="en-US" dirty="0"/>
              <a:t>PostgreSQL – </a:t>
            </a:r>
            <a:r>
              <a:rPr lang="ru-RU" dirty="0"/>
              <a:t>создание </a:t>
            </a:r>
            <a:r>
              <a:rPr lang="ru-RU" dirty="0" err="1"/>
              <a:t>партиции</a:t>
            </a:r>
            <a:endParaRPr lang="en-R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9B08905-A875-4A10-A659-3094C782A0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052" y="1724744"/>
            <a:ext cx="11707896" cy="3987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7087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74E2779-5647-BC08-DFED-267BCEF55A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9625" y="301101"/>
            <a:ext cx="10300252" cy="842890"/>
          </a:xfrm>
        </p:spPr>
        <p:txBody>
          <a:bodyPr/>
          <a:lstStyle/>
          <a:p>
            <a:r>
              <a:rPr lang="en-US" dirty="0"/>
              <a:t>PostgreSQL – </a:t>
            </a:r>
            <a:r>
              <a:rPr lang="ru-RU" dirty="0"/>
              <a:t>создание </a:t>
            </a:r>
            <a:r>
              <a:rPr lang="ru-RU" dirty="0" err="1"/>
              <a:t>партиции</a:t>
            </a:r>
            <a:endParaRPr lang="en-R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760B80-8C3A-4EF2-80EF-FE467A7A9BD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268" y="1685835"/>
            <a:ext cx="11556278" cy="3828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1348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Titles">
  <a:themeElements>
    <a:clrScheme name="Ax-team 2022">
      <a:dk1>
        <a:srgbClr val="000000"/>
      </a:dk1>
      <a:lt1>
        <a:srgbClr val="EBE8E4"/>
      </a:lt1>
      <a:dk2>
        <a:srgbClr val="B3B2B3"/>
      </a:dk2>
      <a:lt2>
        <a:srgbClr val="414042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3F1A62"/>
      </a:accent6>
      <a:hlink>
        <a:srgbClr val="2800FF"/>
      </a:hlink>
      <a:folHlink>
        <a:srgbClr val="E9610D"/>
      </a:folHlink>
    </a:clrScheme>
    <a:fontScheme name="Ax-team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2.xml><?xml version="1.0" encoding="utf-8"?>
<a:theme xmlns:a="http://schemas.openxmlformats.org/drawingml/2006/main" name="6_Titles">
  <a:themeElements>
    <a:clrScheme name="Ax-team 2022">
      <a:dk1>
        <a:srgbClr val="000000"/>
      </a:dk1>
      <a:lt1>
        <a:srgbClr val="EBE8E4"/>
      </a:lt1>
      <a:dk2>
        <a:srgbClr val="B3B2B3"/>
      </a:dk2>
      <a:lt2>
        <a:srgbClr val="414042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3F1A62"/>
      </a:accent6>
      <a:hlink>
        <a:srgbClr val="2800FF"/>
      </a:hlink>
      <a:folHlink>
        <a:srgbClr val="E9610D"/>
      </a:folHlink>
    </a:clrScheme>
    <a:fontScheme name="Ax-team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3.xml><?xml version="1.0" encoding="utf-8"?>
<a:theme xmlns:a="http://schemas.openxmlformats.org/drawingml/2006/main" name="Custom Design">
  <a:themeElements>
    <a:clrScheme name="Ax-team oct.2022">
      <a:dk1>
        <a:srgbClr val="000000"/>
      </a:dk1>
      <a:lt1>
        <a:srgbClr val="FFFFFF"/>
      </a:lt1>
      <a:dk2>
        <a:srgbClr val="B3B2B3"/>
      </a:dk2>
      <a:lt2>
        <a:srgbClr val="EBE8E4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414042"/>
      </a:accent6>
      <a:hlink>
        <a:srgbClr val="2800FF"/>
      </a:hlink>
      <a:folHlink>
        <a:srgbClr val="E9610D"/>
      </a:folHlink>
    </a:clrScheme>
    <a:fontScheme name="Ax-team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Titles">
  <a:themeElements>
    <a:clrScheme name="Ax-team 2022">
      <a:dk1>
        <a:srgbClr val="000000"/>
      </a:dk1>
      <a:lt1>
        <a:srgbClr val="EBE8E4"/>
      </a:lt1>
      <a:dk2>
        <a:srgbClr val="B3B2B3"/>
      </a:dk2>
      <a:lt2>
        <a:srgbClr val="414042"/>
      </a:lt2>
      <a:accent1>
        <a:srgbClr val="F37022"/>
      </a:accent1>
      <a:accent2>
        <a:srgbClr val="FBD4BC"/>
      </a:accent2>
      <a:accent3>
        <a:srgbClr val="821F00"/>
      </a:accent3>
      <a:accent4>
        <a:srgbClr val="22A5F3"/>
      </a:accent4>
      <a:accent5>
        <a:srgbClr val="5F308C"/>
      </a:accent5>
      <a:accent6>
        <a:srgbClr val="3F1A62"/>
      </a:accent6>
      <a:hlink>
        <a:srgbClr val="2800FF"/>
      </a:hlink>
      <a:folHlink>
        <a:srgbClr val="E9610D"/>
      </a:folHlink>
    </a:clrScheme>
    <a:fontScheme name="Ax-team">
      <a:majorFont>
        <a:latin typeface="Montserrat Bold"/>
        <a:ea typeface=""/>
        <a:cs typeface=""/>
      </a:majorFont>
      <a:minorFont>
        <a:latin typeface="Montser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45720" rtlCol="0">
        <a:noAutofit/>
      </a:bodyPr>
      <a:lstStyle>
        <a:defPPr>
          <a:defRPr sz="1600" dirty="0" smtClean="0"/>
        </a:defPPr>
      </a:lstStyle>
    </a:txDef>
  </a:objectDefaults>
  <a:extraClrSchemeLst/>
  <a:custClrLst>
    <a:custClr name="Strategy-Orange">
      <a:srgbClr val="FF9128"/>
    </a:custClr>
    <a:custClr name="Strategy-Carmine">
      <a:srgbClr val="BD001D"/>
    </a:custClr>
    <a:custClr name="Consulting-Light Aqua">
      <a:srgbClr val="00F3FF"/>
    </a:custClr>
    <a:custClr name="Consulting-Dark Violet">
      <a:srgbClr val="7500C0"/>
    </a:custClr>
    <a:custClr name="Digital-Lime">
      <a:srgbClr val="00FF00"/>
    </a:custClr>
    <a:custClr name="Digital-Sunglow">
      <a:srgbClr val="FFD42E"/>
    </a:custClr>
    <a:custClr name="Technology-Aqua">
      <a:srgbClr val="00F3FF"/>
    </a:custClr>
    <a:custClr name="Technology-Lime">
      <a:srgbClr val="00FF00"/>
    </a:custClr>
    <a:custClr name="Operations-Aqua">
      <a:srgbClr val="00F3FF"/>
    </a:custClr>
    <a:custClr name="Operations-Navy Blue">
      <a:srgbClr val="004DFF"/>
    </a:custClr>
    <a:custClr name="Strategy-Orange Red">
      <a:srgbClr val="FF3C0F"/>
    </a:custClr>
    <a:custClr name="Strategy-Dark Carmine">
      <a:srgbClr val="920026"/>
    </a:custClr>
    <a:custClr name="Consulting-Electric Purple">
      <a:srgbClr val="A100FF"/>
    </a:custClr>
    <a:custClr name="Consulting-Indigo">
      <a:srgbClr val="5F0095"/>
    </a:custClr>
    <a:custClr name="Digital-Yellow">
      <a:srgbClr val="FFFF00"/>
    </a:custClr>
    <a:custClr name="Digital-Selective Yellow">
      <a:srgbClr val="FFB600"/>
    </a:custClr>
    <a:custClr name="Technology-Spring Green">
      <a:srgbClr val="00FF7D"/>
    </a:custClr>
    <a:custClr name="Technology-Dark Lime">
      <a:srgbClr val="00D700"/>
    </a:custClr>
    <a:custClr name="Operations-Deep Sky Blue">
      <a:srgbClr val="00BAFF"/>
    </a:custClr>
    <a:custClr name="Operations-Blue">
      <a:srgbClr val="2800FF"/>
    </a:custClr>
    <a:custClr name="Strategy-Red">
      <a:srgbClr val="FF0000"/>
    </a:custClr>
    <a:custClr name="Strategy-Burgundy">
      <a:srgbClr val="710012"/>
    </a:custClr>
    <a:custClr name="Consulting-Electric Indigo">
      <a:srgbClr val="7E00FF"/>
    </a:custClr>
    <a:custClr name="Consulting-Dark Indigo">
      <a:srgbClr val="380089"/>
    </a:custClr>
    <a:custClr name="Digital-Golden Yellow">
      <a:srgbClr val="FFEA00"/>
    </a:custClr>
    <a:custClr name="Digital-Dark Orange">
      <a:srgbClr val="FF9500"/>
    </a:custClr>
    <a:custClr name="Technology-Spring Bud">
      <a:srgbClr val="B9FF00"/>
    </a:custClr>
    <a:custClr name="Technology-British Racing Green">
      <a:srgbClr val="00530A"/>
    </a:custClr>
    <a:custClr name="Operations-Dodger Blue">
      <a:srgbClr val="008EFF"/>
    </a:custClr>
    <a:custClr name="Operations-Dark Blue">
      <a:srgbClr val="000088"/>
    </a:custClr>
  </a:custClrLst>
  <a:extLst>
    <a:ext uri="{05A4C25C-085E-4340-85A3-A5531E510DB2}">
      <thm15:themeFamily xmlns:thm15="http://schemas.microsoft.com/office/thememl/2012/main" name="Presentation1" id="{3AF425F2-D110-4AD7-9186-046FD1A1BA59}" vid="{78550A33-A983-4183-922A-851E5C78E48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D8D1F32CD47364489AEA84E7C810ACE" ma:contentTypeVersion="0" ma:contentTypeDescription="Create a new document." ma:contentTypeScope="" ma:versionID="1dfe614159b55952a206ec6c8369986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6ff03dde4259c08ff71d8d05c94e2e99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D286450-7DA9-49EF-8784-90E8814FA4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6CBFB5A-E9DC-4C31-B655-546C90EABB4E}">
  <ds:schemaRefs>
    <ds:schemaRef ds:uri="http://schemas.openxmlformats.org/package/2006/metadata/core-properties"/>
    <ds:schemaRef ds:uri="http://schemas.microsoft.com/office/2006/documentManagement/types"/>
    <ds:schemaRef ds:uri="http://purl.org/dc/terms/"/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F0B3ABB-6B48-4848-899A-6EDFAAAFE2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0541</TotalTime>
  <Words>528</Words>
  <Application>Microsoft Office PowerPoint</Application>
  <PresentationFormat>Widescreen</PresentationFormat>
  <Paragraphs>73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0" baseType="lpstr">
      <vt:lpstr>Arial</vt:lpstr>
      <vt:lpstr>Calibri</vt:lpstr>
      <vt:lpstr>Montserrat</vt:lpstr>
      <vt:lpstr>Symbol</vt:lpstr>
      <vt:lpstr>3_Titles</vt:lpstr>
      <vt:lpstr>6_Titles</vt:lpstr>
      <vt:lpstr>Custom Design</vt:lpstr>
      <vt:lpstr>5_Titles</vt:lpstr>
      <vt:lpstr>think-cell Folie</vt:lpstr>
      <vt:lpstr>Миграция Oracle на PostgreSQL в высоконагруженной системе с микросервисной архитектурой  </vt:lpstr>
      <vt:lpstr>Содержание</vt:lpstr>
      <vt:lpstr>Бизнес-кейс</vt:lpstr>
      <vt:lpstr>Greenplum – распределение данных</vt:lpstr>
      <vt:lpstr>Greenplum – выводы</vt:lpstr>
      <vt:lpstr>PostgreSQL – разделение БД на две</vt:lpstr>
      <vt:lpstr>PostgreSQL – почему и зачем партиции?</vt:lpstr>
      <vt:lpstr>PostgreSQL – создание партиции</vt:lpstr>
      <vt:lpstr>PostgreSQL – создание партиции</vt:lpstr>
      <vt:lpstr>PostgreSQL – создание партиции</vt:lpstr>
      <vt:lpstr>PostgreSQL – очистка партиций</vt:lpstr>
      <vt:lpstr>PostgreSQL – очистка партиций</vt:lpstr>
      <vt:lpstr>PostgreSQL – очистка партиции</vt:lpstr>
      <vt:lpstr>Оптимизация запросов – VACUUM</vt:lpstr>
      <vt:lpstr>Оптимизация запросов – обработка индексов</vt:lpstr>
      <vt:lpstr>Оптимизация запросов – добавление ограничений</vt:lpstr>
      <vt:lpstr>Оптимизация запросов – добавление ограничений</vt:lpstr>
      <vt:lpstr>PowerPoint Presentation</vt:lpstr>
      <vt:lpstr>Конфигурация PostgreSQL и temp_file_limit</vt:lpstr>
      <vt:lpstr>PostgreSQL – доработка микросервисов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daminova Nigora</dc:creator>
  <cp:lastModifiedBy>Umnikov Dmitry</cp:lastModifiedBy>
  <cp:revision>327</cp:revision>
  <dcterms:created xsi:type="dcterms:W3CDTF">2022-04-15T13:13:55Z</dcterms:created>
  <dcterms:modified xsi:type="dcterms:W3CDTF">2023-03-27T09:4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D8D1F32CD47364489AEA84E7C810ACE</vt:lpwstr>
  </property>
</Properties>
</file>